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8" r:id="rId4"/>
    <p:sldMasterId id="2147483663" r:id="rId5"/>
  </p:sldMasterIdLst>
  <p:notesMasterIdLst>
    <p:notesMasterId r:id="rId10"/>
  </p:notesMasterIdLst>
  <p:sldIdLst>
    <p:sldId id="905" r:id="rId6"/>
    <p:sldId id="2141412732" r:id="rId7"/>
    <p:sldId id="6224" r:id="rId8"/>
    <p:sldId id="1948764519" r:id="rId9"/>
  </p:sldIdLst>
  <p:sldSz cx="9144000" cy="5143500" type="screen16x9"/>
  <p:notesSz cx="6858000" cy="9144000"/>
  <p:embeddedFontLst>
    <p:embeddedFont>
      <p:font typeface="Arial Black" panose="020B0A04020102020204" pitchFamily="34" charset="0"/>
      <p:bold r:id="rId11"/>
    </p:embeddedFont>
    <p:embeddedFont>
      <p:font typeface="Calibri" panose="020F0502020204030204" pitchFamily="34" charset="0"/>
      <p:regular r:id="rId12"/>
      <p:bold r:id="rId13"/>
      <p:italic r:id="rId14"/>
      <p:boldItalic r:id="rId15"/>
    </p:embeddedFont>
    <p:embeddedFont>
      <p:font typeface="Cambria" panose="02040503050406030204" pitchFamily="18" charset="0"/>
      <p:regular r:id="rId16"/>
      <p:bold r:id="rId17"/>
      <p:italic r:id="rId18"/>
      <p:boldItalic r:id="rId19"/>
    </p:embeddedFont>
    <p:embeddedFont>
      <p:font typeface="Century Gothic" panose="020B0502020202020204" pitchFamily="34" charset="0"/>
      <p:regular r:id="rId20"/>
      <p:bold r:id="rId21"/>
      <p:italic r:id="rId22"/>
      <p:boldItalic r:id="rId23"/>
    </p:embeddedFont>
    <p:embeddedFont>
      <p:font typeface="News Cycle" panose="020B0604020202020204" charset="2"/>
      <p:regular r:id="rId24"/>
      <p:bold r:id="rId25"/>
    </p:embeddedFont>
    <p:embeddedFont>
      <p:font typeface="Oswald" panose="00000500000000000000" pitchFamily="2" charset="0"/>
      <p:regular r:id="rId26"/>
      <p:bold r:id="rId27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348" userDrawn="1">
          <p15:clr>
            <a:srgbClr val="A4A3A4"/>
          </p15:clr>
        </p15:guide>
        <p15:guide id="2" pos="88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ba Salem" initials="HS" lastIdx="1" clrIdx="0">
    <p:extLst>
      <p:ext uri="{19B8F6BF-5375-455C-9EA6-DF929625EA0E}">
        <p15:presenceInfo xmlns:p15="http://schemas.microsoft.com/office/powerpoint/2012/main" userId="S::Heba.Salem@alfuttaim.com::df0d3315-5335-4730-aef4-34234f5a8f44" providerId="AD"/>
      </p:ext>
    </p:extLst>
  </p:cmAuthor>
  <p:cmAuthor id="2" name="Gabriella Planojevic" initials="GP" lastIdx="10" clrIdx="1">
    <p:extLst>
      <p:ext uri="{19B8F6BF-5375-455C-9EA6-DF929625EA0E}">
        <p15:presenceInfo xmlns:p15="http://schemas.microsoft.com/office/powerpoint/2012/main" userId="S::Gabriella.Planojevic@alfuttaim.com::7798e6ba-5c0e-44fb-a4cd-0f2edfa3949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99BACF"/>
    <a:srgbClr val="88A9BE"/>
    <a:srgbClr val="646464"/>
    <a:srgbClr val="FAFAF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B8DBB66-3963-4193-9283-2C0608EBE65E}" v="141" dt="2023-04-04T05:29:52.998"/>
  </p1510:revLst>
</p1510:revInfo>
</file>

<file path=ppt/tableStyles.xml><?xml version="1.0" encoding="utf-8"?>
<a:tblStyleLst xmlns:a="http://schemas.openxmlformats.org/drawingml/2006/main" def="{6B5681E7-3F6B-493A-A081-50176DB923CF}">
  <a:tblStyle styleId="{6B5681E7-3F6B-493A-A081-50176DB923C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451EFF09-86D4-41D1-8CD3-602A2CEEB6E7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3792" autoAdjust="0"/>
  </p:normalViewPr>
  <p:slideViewPr>
    <p:cSldViewPr snapToGrid="0">
      <p:cViewPr varScale="1">
        <p:scale>
          <a:sx n="84" d="100"/>
          <a:sy n="84" d="100"/>
        </p:scale>
        <p:origin x="708" y="64"/>
      </p:cViewPr>
      <p:guideLst>
        <p:guide orient="horz" pos="348"/>
        <p:guide pos="88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92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font" Target="fonts/font16.fntdata"/><Relationship Id="rId3" Type="http://schemas.openxmlformats.org/officeDocument/2006/relationships/customXml" Target="../customXml/item3.xml"/><Relationship Id="rId21" Type="http://schemas.openxmlformats.org/officeDocument/2006/relationships/font" Target="fonts/font11.fntdata"/><Relationship Id="rId7" Type="http://schemas.openxmlformats.org/officeDocument/2006/relationships/slide" Target="slides/slide2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font" Target="fonts/font15.fntdata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font" Target="fonts/font1.fntdata"/><Relationship Id="rId24" Type="http://schemas.openxmlformats.org/officeDocument/2006/relationships/font" Target="fonts/font14.fntdata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5.fntdata"/><Relationship Id="rId23" Type="http://schemas.openxmlformats.org/officeDocument/2006/relationships/font" Target="fonts/font13.fntdata"/><Relationship Id="rId28" Type="http://schemas.openxmlformats.org/officeDocument/2006/relationships/commentAuthors" Target="commentAuthors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9.fntdata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font" Target="fonts/font17.fntdata"/><Relationship Id="rId30" Type="http://schemas.openxmlformats.org/officeDocument/2006/relationships/viewProps" Target="viewProps.xml"/><Relationship Id="rId8" Type="http://schemas.openxmlformats.org/officeDocument/2006/relationships/slide" Target="slides/slide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3" name="Google Shape;103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bg>
      <p:bgPr>
        <a:solidFill>
          <a:schemeClr val="accent3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550500" y="2435625"/>
            <a:ext cx="3638700" cy="22401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None/>
              <a:defRPr sz="54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None/>
              <a:defRPr sz="54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None/>
              <a:defRPr sz="54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None/>
              <a:defRPr sz="54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None/>
              <a:defRPr sz="54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None/>
              <a:defRPr sz="54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None/>
              <a:defRPr sz="54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None/>
              <a:defRPr sz="54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None/>
              <a:defRPr sz="54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>
            <a:off x="7813106" y="0"/>
            <a:ext cx="892296" cy="322542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10795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12;p2"/>
          <p:cNvSpPr/>
          <p:nvPr/>
        </p:nvSpPr>
        <p:spPr>
          <a:xfrm>
            <a:off x="3650209" y="0"/>
            <a:ext cx="563814" cy="1699704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0304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13;p2"/>
          <p:cNvSpPr/>
          <p:nvPr/>
        </p:nvSpPr>
        <p:spPr>
          <a:xfrm>
            <a:off x="4359415" y="609095"/>
            <a:ext cx="1314792" cy="2119176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21600"/>
                </a:moveTo>
                <a:lnTo>
                  <a:pt x="21600" y="19177"/>
                </a:lnTo>
                <a:lnTo>
                  <a:pt x="21600" y="0"/>
                </a:lnTo>
                <a:lnTo>
                  <a:pt x="0" y="2423"/>
                </a:lnTo>
                <a:lnTo>
                  <a:pt x="0" y="216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Google Shape;14;p2"/>
          <p:cNvSpPr/>
          <p:nvPr/>
        </p:nvSpPr>
        <p:spPr>
          <a:xfrm>
            <a:off x="5821031" y="991483"/>
            <a:ext cx="1845234" cy="4159458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1733"/>
                </a:lnTo>
                <a:lnTo>
                  <a:pt x="0" y="21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" name="Google Shape;15;p2"/>
          <p:cNvSpPr/>
          <p:nvPr/>
        </p:nvSpPr>
        <p:spPr>
          <a:xfrm>
            <a:off x="4359415" y="2643735"/>
            <a:ext cx="1314792" cy="2510136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2046"/>
                </a:lnTo>
                <a:lnTo>
                  <a:pt x="0" y="21600"/>
                </a:lnTo>
                <a:close/>
              </a:path>
            </a:pathLst>
          </a:custGeom>
          <a:solidFill>
            <a:srgbClr val="002035">
              <a:alpha val="17320"/>
            </a:srgbClr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2"/>
          <p:cNvSpPr/>
          <p:nvPr/>
        </p:nvSpPr>
        <p:spPr>
          <a:xfrm>
            <a:off x="7813106" y="306930"/>
            <a:ext cx="892296" cy="2977290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21600"/>
                </a:moveTo>
                <a:lnTo>
                  <a:pt x="21600" y="20429"/>
                </a:lnTo>
                <a:lnTo>
                  <a:pt x="21600" y="0"/>
                </a:lnTo>
                <a:lnTo>
                  <a:pt x="0" y="1171"/>
                </a:lnTo>
                <a:lnTo>
                  <a:pt x="0" y="21600"/>
                </a:lnTo>
                <a:close/>
              </a:path>
            </a:pathLst>
          </a:custGeom>
          <a:solidFill>
            <a:srgbClr val="002035">
              <a:alpha val="17320"/>
            </a:srgbClr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Google Shape;17;p2"/>
          <p:cNvSpPr/>
          <p:nvPr/>
        </p:nvSpPr>
        <p:spPr>
          <a:xfrm>
            <a:off x="5821031" y="0"/>
            <a:ext cx="1845234" cy="1161054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21600"/>
                </a:moveTo>
                <a:lnTo>
                  <a:pt x="21600" y="15393"/>
                </a:lnTo>
                <a:lnTo>
                  <a:pt x="21600" y="0"/>
                </a:lnTo>
                <a:lnTo>
                  <a:pt x="0" y="0"/>
                </a:lnTo>
                <a:lnTo>
                  <a:pt x="0" y="2160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Google Shape;18;p2"/>
          <p:cNvSpPr/>
          <p:nvPr/>
        </p:nvSpPr>
        <p:spPr>
          <a:xfrm>
            <a:off x="7813106" y="3277330"/>
            <a:ext cx="892296" cy="1165914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21600"/>
                </a:moveTo>
                <a:lnTo>
                  <a:pt x="21600" y="18611"/>
                </a:lnTo>
                <a:lnTo>
                  <a:pt x="21600" y="0"/>
                </a:lnTo>
                <a:lnTo>
                  <a:pt x="0" y="2989"/>
                </a:lnTo>
                <a:lnTo>
                  <a:pt x="0" y="216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6" name="Group 1035"/>
          <p:cNvGrpSpPr/>
          <p:nvPr userDrawn="1"/>
        </p:nvGrpSpPr>
        <p:grpSpPr>
          <a:xfrm>
            <a:off x="1794044" y="1015060"/>
            <a:ext cx="5861051" cy="2507516"/>
            <a:chOff x="1947863" y="866775"/>
            <a:chExt cx="5861051" cy="250983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" name="Oval 8"/>
            <p:cNvSpPr>
              <a:spLocks noChangeArrowheads="1"/>
            </p:cNvSpPr>
            <p:nvPr userDrawn="1"/>
          </p:nvSpPr>
          <p:spPr bwMode="auto">
            <a:xfrm>
              <a:off x="4435476" y="1173163"/>
              <a:ext cx="90488" cy="92075"/>
            </a:xfrm>
            <a:prstGeom prst="ellipse">
              <a:avLst/>
            </a:prstGeom>
            <a:solidFill>
              <a:srgbClr val="69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29" name="Freeform 9"/>
            <p:cNvSpPr>
              <a:spLocks/>
            </p:cNvSpPr>
            <p:nvPr userDrawn="1"/>
          </p:nvSpPr>
          <p:spPr bwMode="auto">
            <a:xfrm>
              <a:off x="4381501" y="1273175"/>
              <a:ext cx="196850" cy="381000"/>
            </a:xfrm>
            <a:custGeom>
              <a:avLst/>
              <a:gdLst>
                <a:gd name="T0" fmla="*/ 157 w 157"/>
                <a:gd name="T1" fmla="*/ 41 h 305"/>
                <a:gd name="T2" fmla="*/ 114 w 157"/>
                <a:gd name="T3" fmla="*/ 0 h 305"/>
                <a:gd name="T4" fmla="*/ 43 w 157"/>
                <a:gd name="T5" fmla="*/ 0 h 305"/>
                <a:gd name="T6" fmla="*/ 0 w 157"/>
                <a:gd name="T7" fmla="*/ 41 h 305"/>
                <a:gd name="T8" fmla="*/ 0 w 157"/>
                <a:gd name="T9" fmla="*/ 41 h 305"/>
                <a:gd name="T10" fmla="*/ 0 w 157"/>
                <a:gd name="T11" fmla="*/ 128 h 305"/>
                <a:gd name="T12" fmla="*/ 13 w 157"/>
                <a:gd name="T13" fmla="*/ 141 h 305"/>
                <a:gd name="T14" fmla="*/ 25 w 157"/>
                <a:gd name="T15" fmla="*/ 128 h 305"/>
                <a:gd name="T16" fmla="*/ 25 w 157"/>
                <a:gd name="T17" fmla="*/ 44 h 305"/>
                <a:gd name="T18" fmla="*/ 38 w 157"/>
                <a:gd name="T19" fmla="*/ 44 h 305"/>
                <a:gd name="T20" fmla="*/ 38 w 157"/>
                <a:gd name="T21" fmla="*/ 132 h 305"/>
                <a:gd name="T22" fmla="*/ 38 w 157"/>
                <a:gd name="T23" fmla="*/ 145 h 305"/>
                <a:gd name="T24" fmla="*/ 38 w 157"/>
                <a:gd name="T25" fmla="*/ 286 h 305"/>
                <a:gd name="T26" fmla="*/ 54 w 157"/>
                <a:gd name="T27" fmla="*/ 305 h 305"/>
                <a:gd name="T28" fmla="*/ 71 w 157"/>
                <a:gd name="T29" fmla="*/ 286 h 305"/>
                <a:gd name="T30" fmla="*/ 71 w 157"/>
                <a:gd name="T31" fmla="*/ 145 h 305"/>
                <a:gd name="T32" fmla="*/ 87 w 157"/>
                <a:gd name="T33" fmla="*/ 145 h 305"/>
                <a:gd name="T34" fmla="*/ 87 w 157"/>
                <a:gd name="T35" fmla="*/ 286 h 305"/>
                <a:gd name="T36" fmla="*/ 104 w 157"/>
                <a:gd name="T37" fmla="*/ 305 h 305"/>
                <a:gd name="T38" fmla="*/ 120 w 157"/>
                <a:gd name="T39" fmla="*/ 286 h 305"/>
                <a:gd name="T40" fmla="*/ 120 w 157"/>
                <a:gd name="T41" fmla="*/ 145 h 305"/>
                <a:gd name="T42" fmla="*/ 120 w 157"/>
                <a:gd name="T43" fmla="*/ 132 h 305"/>
                <a:gd name="T44" fmla="*/ 120 w 157"/>
                <a:gd name="T45" fmla="*/ 44 h 305"/>
                <a:gd name="T46" fmla="*/ 133 w 157"/>
                <a:gd name="T47" fmla="*/ 44 h 305"/>
                <a:gd name="T48" fmla="*/ 133 w 157"/>
                <a:gd name="T49" fmla="*/ 128 h 305"/>
                <a:gd name="T50" fmla="*/ 145 w 157"/>
                <a:gd name="T51" fmla="*/ 141 h 305"/>
                <a:gd name="T52" fmla="*/ 157 w 157"/>
                <a:gd name="T53" fmla="*/ 128 h 305"/>
                <a:gd name="T54" fmla="*/ 157 w 157"/>
                <a:gd name="T55" fmla="*/ 41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57" h="305">
                  <a:moveTo>
                    <a:pt x="157" y="41"/>
                  </a:moveTo>
                  <a:cubicBezTo>
                    <a:pt x="157" y="18"/>
                    <a:pt x="138" y="0"/>
                    <a:pt x="11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20" y="0"/>
                    <a:pt x="1" y="18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5"/>
                    <a:pt x="6" y="141"/>
                    <a:pt x="13" y="141"/>
                  </a:cubicBezTo>
                  <a:cubicBezTo>
                    <a:pt x="20" y="141"/>
                    <a:pt x="25" y="135"/>
                    <a:pt x="25" y="128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45"/>
                    <a:pt x="38" y="145"/>
                    <a:pt x="38" y="145"/>
                  </a:cubicBezTo>
                  <a:cubicBezTo>
                    <a:pt x="38" y="286"/>
                    <a:pt x="38" y="286"/>
                    <a:pt x="38" y="286"/>
                  </a:cubicBezTo>
                  <a:cubicBezTo>
                    <a:pt x="38" y="297"/>
                    <a:pt x="45" y="305"/>
                    <a:pt x="54" y="305"/>
                  </a:cubicBezTo>
                  <a:cubicBezTo>
                    <a:pt x="64" y="305"/>
                    <a:pt x="71" y="297"/>
                    <a:pt x="71" y="286"/>
                  </a:cubicBezTo>
                  <a:cubicBezTo>
                    <a:pt x="71" y="145"/>
                    <a:pt x="71" y="145"/>
                    <a:pt x="71" y="145"/>
                  </a:cubicBezTo>
                  <a:cubicBezTo>
                    <a:pt x="87" y="145"/>
                    <a:pt x="87" y="145"/>
                    <a:pt x="87" y="145"/>
                  </a:cubicBezTo>
                  <a:cubicBezTo>
                    <a:pt x="87" y="286"/>
                    <a:pt x="87" y="286"/>
                    <a:pt x="87" y="286"/>
                  </a:cubicBezTo>
                  <a:cubicBezTo>
                    <a:pt x="87" y="297"/>
                    <a:pt x="94" y="305"/>
                    <a:pt x="104" y="305"/>
                  </a:cubicBezTo>
                  <a:cubicBezTo>
                    <a:pt x="113" y="305"/>
                    <a:pt x="120" y="297"/>
                    <a:pt x="120" y="286"/>
                  </a:cubicBezTo>
                  <a:cubicBezTo>
                    <a:pt x="120" y="145"/>
                    <a:pt x="120" y="145"/>
                    <a:pt x="120" y="145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33" y="44"/>
                    <a:pt x="133" y="44"/>
                    <a:pt x="133" y="44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33" y="135"/>
                    <a:pt x="138" y="141"/>
                    <a:pt x="145" y="141"/>
                  </a:cubicBezTo>
                  <a:cubicBezTo>
                    <a:pt x="152" y="141"/>
                    <a:pt x="157" y="135"/>
                    <a:pt x="157" y="128"/>
                  </a:cubicBezTo>
                  <a:cubicBezTo>
                    <a:pt x="157" y="41"/>
                    <a:pt x="157" y="41"/>
                    <a:pt x="157" y="41"/>
                  </a:cubicBezTo>
                  <a:close/>
                </a:path>
              </a:pathLst>
            </a:custGeom>
            <a:solidFill>
              <a:srgbClr val="69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30" name="Freeform 10"/>
            <p:cNvSpPr>
              <a:spLocks/>
            </p:cNvSpPr>
            <p:nvPr userDrawn="1"/>
          </p:nvSpPr>
          <p:spPr bwMode="auto">
            <a:xfrm>
              <a:off x="4587876" y="1268413"/>
              <a:ext cx="211138" cy="387350"/>
            </a:xfrm>
            <a:custGeom>
              <a:avLst/>
              <a:gdLst>
                <a:gd name="T0" fmla="*/ 168 w 169"/>
                <a:gd name="T1" fmla="*/ 137 h 309"/>
                <a:gd name="T2" fmla="*/ 155 w 169"/>
                <a:gd name="T3" fmla="*/ 41 h 309"/>
                <a:gd name="T4" fmla="*/ 155 w 169"/>
                <a:gd name="T5" fmla="*/ 41 h 309"/>
                <a:gd name="T6" fmla="*/ 154 w 169"/>
                <a:gd name="T7" fmla="*/ 38 h 309"/>
                <a:gd name="T8" fmla="*/ 154 w 169"/>
                <a:gd name="T9" fmla="*/ 36 h 309"/>
                <a:gd name="T10" fmla="*/ 152 w 169"/>
                <a:gd name="T11" fmla="*/ 26 h 309"/>
                <a:gd name="T12" fmla="*/ 152 w 169"/>
                <a:gd name="T13" fmla="*/ 26 h 309"/>
                <a:gd name="T14" fmla="*/ 152 w 169"/>
                <a:gd name="T15" fmla="*/ 26 h 309"/>
                <a:gd name="T16" fmla="*/ 118 w 169"/>
                <a:gd name="T17" fmla="*/ 0 h 309"/>
                <a:gd name="T18" fmla="*/ 50 w 169"/>
                <a:gd name="T19" fmla="*/ 0 h 309"/>
                <a:gd name="T20" fmla="*/ 16 w 169"/>
                <a:gd name="T21" fmla="*/ 26 h 309"/>
                <a:gd name="T22" fmla="*/ 16 w 169"/>
                <a:gd name="T23" fmla="*/ 26 h 309"/>
                <a:gd name="T24" fmla="*/ 16 w 169"/>
                <a:gd name="T25" fmla="*/ 26 h 309"/>
                <a:gd name="T26" fmla="*/ 15 w 169"/>
                <a:gd name="T27" fmla="*/ 36 h 309"/>
                <a:gd name="T28" fmla="*/ 15 w 169"/>
                <a:gd name="T29" fmla="*/ 38 h 309"/>
                <a:gd name="T30" fmla="*/ 14 w 169"/>
                <a:gd name="T31" fmla="*/ 41 h 309"/>
                <a:gd name="T32" fmla="*/ 14 w 169"/>
                <a:gd name="T33" fmla="*/ 41 h 309"/>
                <a:gd name="T34" fmla="*/ 1 w 169"/>
                <a:gd name="T35" fmla="*/ 137 h 309"/>
                <a:gd name="T36" fmla="*/ 11 w 169"/>
                <a:gd name="T37" fmla="*/ 150 h 309"/>
                <a:gd name="T38" fmla="*/ 24 w 169"/>
                <a:gd name="T39" fmla="*/ 140 h 309"/>
                <a:gd name="T40" fmla="*/ 38 w 169"/>
                <a:gd name="T41" fmla="*/ 42 h 309"/>
                <a:gd name="T42" fmla="*/ 49 w 169"/>
                <a:gd name="T43" fmla="*/ 42 h 309"/>
                <a:gd name="T44" fmla="*/ 31 w 169"/>
                <a:gd name="T45" fmla="*/ 179 h 309"/>
                <a:gd name="T46" fmla="*/ 45 w 169"/>
                <a:gd name="T47" fmla="*/ 179 h 309"/>
                <a:gd name="T48" fmla="*/ 45 w 169"/>
                <a:gd name="T49" fmla="*/ 291 h 309"/>
                <a:gd name="T50" fmla="*/ 61 w 169"/>
                <a:gd name="T51" fmla="*/ 309 h 309"/>
                <a:gd name="T52" fmla="*/ 61 w 169"/>
                <a:gd name="T53" fmla="*/ 309 h 309"/>
                <a:gd name="T54" fmla="*/ 61 w 169"/>
                <a:gd name="T55" fmla="*/ 309 h 309"/>
                <a:gd name="T56" fmla="*/ 77 w 169"/>
                <a:gd name="T57" fmla="*/ 291 h 309"/>
                <a:gd name="T58" fmla="*/ 77 w 169"/>
                <a:gd name="T59" fmla="*/ 179 h 309"/>
                <a:gd name="T60" fmla="*/ 92 w 169"/>
                <a:gd name="T61" fmla="*/ 179 h 309"/>
                <a:gd name="T62" fmla="*/ 92 w 169"/>
                <a:gd name="T63" fmla="*/ 291 h 309"/>
                <a:gd name="T64" fmla="*/ 108 w 169"/>
                <a:gd name="T65" fmla="*/ 309 h 309"/>
                <a:gd name="T66" fmla="*/ 108 w 169"/>
                <a:gd name="T67" fmla="*/ 309 h 309"/>
                <a:gd name="T68" fmla="*/ 108 w 169"/>
                <a:gd name="T69" fmla="*/ 309 h 309"/>
                <a:gd name="T70" fmla="*/ 124 w 169"/>
                <a:gd name="T71" fmla="*/ 291 h 309"/>
                <a:gd name="T72" fmla="*/ 124 w 169"/>
                <a:gd name="T73" fmla="*/ 179 h 309"/>
                <a:gd name="T74" fmla="*/ 138 w 169"/>
                <a:gd name="T75" fmla="*/ 179 h 309"/>
                <a:gd name="T76" fmla="*/ 120 w 169"/>
                <a:gd name="T77" fmla="*/ 43 h 309"/>
                <a:gd name="T78" fmla="*/ 120 w 169"/>
                <a:gd name="T79" fmla="*/ 42 h 309"/>
                <a:gd name="T80" fmla="*/ 131 w 169"/>
                <a:gd name="T81" fmla="*/ 42 h 309"/>
                <a:gd name="T82" fmla="*/ 145 w 169"/>
                <a:gd name="T83" fmla="*/ 140 h 309"/>
                <a:gd name="T84" fmla="*/ 158 w 169"/>
                <a:gd name="T85" fmla="*/ 150 h 309"/>
                <a:gd name="T86" fmla="*/ 168 w 169"/>
                <a:gd name="T87" fmla="*/ 1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9" h="309">
                  <a:moveTo>
                    <a:pt x="168" y="137"/>
                  </a:moveTo>
                  <a:cubicBezTo>
                    <a:pt x="155" y="41"/>
                    <a:pt x="155" y="41"/>
                    <a:pt x="155" y="41"/>
                  </a:cubicBezTo>
                  <a:cubicBezTo>
                    <a:pt x="155" y="41"/>
                    <a:pt x="155" y="41"/>
                    <a:pt x="155" y="41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6"/>
                    <a:pt x="154" y="36"/>
                    <a:pt x="154" y="36"/>
                  </a:cubicBezTo>
                  <a:cubicBezTo>
                    <a:pt x="154" y="33"/>
                    <a:pt x="153" y="29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48" y="11"/>
                    <a:pt x="135" y="1"/>
                    <a:pt x="118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4" y="1"/>
                    <a:pt x="21" y="11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9"/>
                    <a:pt x="15" y="33"/>
                    <a:pt x="15" y="36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43"/>
                    <a:pt x="4" y="149"/>
                    <a:pt x="11" y="150"/>
                  </a:cubicBezTo>
                  <a:cubicBezTo>
                    <a:pt x="17" y="151"/>
                    <a:pt x="23" y="147"/>
                    <a:pt x="24" y="140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31" y="179"/>
                    <a:pt x="31" y="179"/>
                    <a:pt x="3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45" y="301"/>
                    <a:pt x="52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70" y="309"/>
                    <a:pt x="77" y="301"/>
                    <a:pt x="77" y="291"/>
                  </a:cubicBezTo>
                  <a:cubicBezTo>
                    <a:pt x="77" y="179"/>
                    <a:pt x="77" y="179"/>
                    <a:pt x="77" y="179"/>
                  </a:cubicBezTo>
                  <a:cubicBezTo>
                    <a:pt x="92" y="179"/>
                    <a:pt x="92" y="179"/>
                    <a:pt x="92" y="179"/>
                  </a:cubicBezTo>
                  <a:cubicBezTo>
                    <a:pt x="92" y="291"/>
                    <a:pt x="92" y="291"/>
                    <a:pt x="92" y="291"/>
                  </a:cubicBezTo>
                  <a:cubicBezTo>
                    <a:pt x="92" y="301"/>
                    <a:pt x="99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17" y="309"/>
                    <a:pt x="124" y="301"/>
                    <a:pt x="124" y="291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38" y="179"/>
                    <a:pt x="138" y="179"/>
                    <a:pt x="138" y="179"/>
                  </a:cubicBezTo>
                  <a:cubicBezTo>
                    <a:pt x="120" y="43"/>
                    <a:pt x="120" y="43"/>
                    <a:pt x="120" y="43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7"/>
                    <a:pt x="152" y="151"/>
                    <a:pt x="158" y="150"/>
                  </a:cubicBezTo>
                  <a:cubicBezTo>
                    <a:pt x="164" y="149"/>
                    <a:pt x="169" y="143"/>
                    <a:pt x="168" y="137"/>
                  </a:cubicBezTo>
                </a:path>
              </a:pathLst>
            </a:custGeom>
            <a:solidFill>
              <a:srgbClr val="AC29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4651376" y="1173163"/>
              <a:ext cx="85725" cy="88900"/>
            </a:xfrm>
            <a:custGeom>
              <a:avLst/>
              <a:gdLst>
                <a:gd name="T0" fmla="*/ 34 w 69"/>
                <a:gd name="T1" fmla="*/ 70 h 70"/>
                <a:gd name="T2" fmla="*/ 34 w 69"/>
                <a:gd name="T3" fmla="*/ 70 h 70"/>
                <a:gd name="T4" fmla="*/ 34 w 69"/>
                <a:gd name="T5" fmla="*/ 70 h 70"/>
                <a:gd name="T6" fmla="*/ 69 w 69"/>
                <a:gd name="T7" fmla="*/ 35 h 70"/>
                <a:gd name="T8" fmla="*/ 34 w 69"/>
                <a:gd name="T9" fmla="*/ 0 h 70"/>
                <a:gd name="T10" fmla="*/ 34 w 69"/>
                <a:gd name="T11" fmla="*/ 0 h 70"/>
                <a:gd name="T12" fmla="*/ 34 w 69"/>
                <a:gd name="T13" fmla="*/ 0 h 70"/>
                <a:gd name="T14" fmla="*/ 0 w 69"/>
                <a:gd name="T15" fmla="*/ 35 h 70"/>
                <a:gd name="T16" fmla="*/ 34 w 69"/>
                <a:gd name="T1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70">
                  <a:moveTo>
                    <a:pt x="34" y="70"/>
                  </a:moveTo>
                  <a:cubicBezTo>
                    <a:pt x="34" y="70"/>
                    <a:pt x="34" y="70"/>
                    <a:pt x="34" y="70"/>
                  </a:cubicBezTo>
                  <a:cubicBezTo>
                    <a:pt x="34" y="70"/>
                    <a:pt x="34" y="70"/>
                    <a:pt x="34" y="70"/>
                  </a:cubicBezTo>
                  <a:cubicBezTo>
                    <a:pt x="54" y="70"/>
                    <a:pt x="69" y="54"/>
                    <a:pt x="69" y="35"/>
                  </a:cubicBezTo>
                  <a:cubicBezTo>
                    <a:pt x="69" y="16"/>
                    <a:pt x="5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4"/>
                    <a:pt x="15" y="70"/>
                    <a:pt x="34" y="70"/>
                  </a:cubicBezTo>
                </a:path>
              </a:pathLst>
            </a:custGeom>
            <a:solidFill>
              <a:srgbClr val="AC29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32" name="Freeform 12"/>
            <p:cNvSpPr>
              <a:spLocks/>
            </p:cNvSpPr>
            <p:nvPr userDrawn="1"/>
          </p:nvSpPr>
          <p:spPr bwMode="auto">
            <a:xfrm>
              <a:off x="4162426" y="1268413"/>
              <a:ext cx="211138" cy="387350"/>
            </a:xfrm>
            <a:custGeom>
              <a:avLst/>
              <a:gdLst>
                <a:gd name="T0" fmla="*/ 168 w 169"/>
                <a:gd name="T1" fmla="*/ 137 h 309"/>
                <a:gd name="T2" fmla="*/ 155 w 169"/>
                <a:gd name="T3" fmla="*/ 41 h 309"/>
                <a:gd name="T4" fmla="*/ 155 w 169"/>
                <a:gd name="T5" fmla="*/ 41 h 309"/>
                <a:gd name="T6" fmla="*/ 154 w 169"/>
                <a:gd name="T7" fmla="*/ 38 h 309"/>
                <a:gd name="T8" fmla="*/ 154 w 169"/>
                <a:gd name="T9" fmla="*/ 36 h 309"/>
                <a:gd name="T10" fmla="*/ 153 w 169"/>
                <a:gd name="T11" fmla="*/ 26 h 309"/>
                <a:gd name="T12" fmla="*/ 152 w 169"/>
                <a:gd name="T13" fmla="*/ 26 h 309"/>
                <a:gd name="T14" fmla="*/ 152 w 169"/>
                <a:gd name="T15" fmla="*/ 26 h 309"/>
                <a:gd name="T16" fmla="*/ 119 w 169"/>
                <a:gd name="T17" fmla="*/ 0 h 309"/>
                <a:gd name="T18" fmla="*/ 50 w 169"/>
                <a:gd name="T19" fmla="*/ 0 h 309"/>
                <a:gd name="T20" fmla="*/ 16 w 169"/>
                <a:gd name="T21" fmla="*/ 26 h 309"/>
                <a:gd name="T22" fmla="*/ 16 w 169"/>
                <a:gd name="T23" fmla="*/ 26 h 309"/>
                <a:gd name="T24" fmla="*/ 16 w 169"/>
                <a:gd name="T25" fmla="*/ 26 h 309"/>
                <a:gd name="T26" fmla="*/ 15 w 169"/>
                <a:gd name="T27" fmla="*/ 36 h 309"/>
                <a:gd name="T28" fmla="*/ 15 w 169"/>
                <a:gd name="T29" fmla="*/ 38 h 309"/>
                <a:gd name="T30" fmla="*/ 14 w 169"/>
                <a:gd name="T31" fmla="*/ 41 h 309"/>
                <a:gd name="T32" fmla="*/ 14 w 169"/>
                <a:gd name="T33" fmla="*/ 41 h 309"/>
                <a:gd name="T34" fmla="*/ 1 w 169"/>
                <a:gd name="T35" fmla="*/ 137 h 309"/>
                <a:gd name="T36" fmla="*/ 11 w 169"/>
                <a:gd name="T37" fmla="*/ 150 h 309"/>
                <a:gd name="T38" fmla="*/ 24 w 169"/>
                <a:gd name="T39" fmla="*/ 140 h 309"/>
                <a:gd name="T40" fmla="*/ 38 w 169"/>
                <a:gd name="T41" fmla="*/ 42 h 309"/>
                <a:gd name="T42" fmla="*/ 49 w 169"/>
                <a:gd name="T43" fmla="*/ 42 h 309"/>
                <a:gd name="T44" fmla="*/ 31 w 169"/>
                <a:gd name="T45" fmla="*/ 179 h 309"/>
                <a:gd name="T46" fmla="*/ 45 w 169"/>
                <a:gd name="T47" fmla="*/ 179 h 309"/>
                <a:gd name="T48" fmla="*/ 45 w 169"/>
                <a:gd name="T49" fmla="*/ 291 h 309"/>
                <a:gd name="T50" fmla="*/ 61 w 169"/>
                <a:gd name="T51" fmla="*/ 309 h 309"/>
                <a:gd name="T52" fmla="*/ 61 w 169"/>
                <a:gd name="T53" fmla="*/ 309 h 309"/>
                <a:gd name="T54" fmla="*/ 61 w 169"/>
                <a:gd name="T55" fmla="*/ 309 h 309"/>
                <a:gd name="T56" fmla="*/ 77 w 169"/>
                <a:gd name="T57" fmla="*/ 291 h 309"/>
                <a:gd name="T58" fmla="*/ 77 w 169"/>
                <a:gd name="T59" fmla="*/ 179 h 309"/>
                <a:gd name="T60" fmla="*/ 92 w 169"/>
                <a:gd name="T61" fmla="*/ 179 h 309"/>
                <a:gd name="T62" fmla="*/ 92 w 169"/>
                <a:gd name="T63" fmla="*/ 291 h 309"/>
                <a:gd name="T64" fmla="*/ 108 w 169"/>
                <a:gd name="T65" fmla="*/ 309 h 309"/>
                <a:gd name="T66" fmla="*/ 108 w 169"/>
                <a:gd name="T67" fmla="*/ 309 h 309"/>
                <a:gd name="T68" fmla="*/ 108 w 169"/>
                <a:gd name="T69" fmla="*/ 309 h 309"/>
                <a:gd name="T70" fmla="*/ 124 w 169"/>
                <a:gd name="T71" fmla="*/ 291 h 309"/>
                <a:gd name="T72" fmla="*/ 124 w 169"/>
                <a:gd name="T73" fmla="*/ 179 h 309"/>
                <a:gd name="T74" fmla="*/ 138 w 169"/>
                <a:gd name="T75" fmla="*/ 179 h 309"/>
                <a:gd name="T76" fmla="*/ 120 w 169"/>
                <a:gd name="T77" fmla="*/ 43 h 309"/>
                <a:gd name="T78" fmla="*/ 120 w 169"/>
                <a:gd name="T79" fmla="*/ 42 h 309"/>
                <a:gd name="T80" fmla="*/ 131 w 169"/>
                <a:gd name="T81" fmla="*/ 42 h 309"/>
                <a:gd name="T82" fmla="*/ 145 w 169"/>
                <a:gd name="T83" fmla="*/ 140 h 309"/>
                <a:gd name="T84" fmla="*/ 158 w 169"/>
                <a:gd name="T85" fmla="*/ 150 h 309"/>
                <a:gd name="T86" fmla="*/ 168 w 169"/>
                <a:gd name="T87" fmla="*/ 1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9" h="309">
                  <a:moveTo>
                    <a:pt x="168" y="137"/>
                  </a:moveTo>
                  <a:cubicBezTo>
                    <a:pt x="155" y="41"/>
                    <a:pt x="155" y="41"/>
                    <a:pt x="155" y="41"/>
                  </a:cubicBezTo>
                  <a:cubicBezTo>
                    <a:pt x="155" y="41"/>
                    <a:pt x="155" y="41"/>
                    <a:pt x="155" y="41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6"/>
                    <a:pt x="154" y="36"/>
                    <a:pt x="154" y="36"/>
                  </a:cubicBezTo>
                  <a:cubicBezTo>
                    <a:pt x="154" y="33"/>
                    <a:pt x="153" y="29"/>
                    <a:pt x="153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48" y="11"/>
                    <a:pt x="135" y="1"/>
                    <a:pt x="119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4" y="1"/>
                    <a:pt x="21" y="11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9"/>
                    <a:pt x="15" y="33"/>
                    <a:pt x="15" y="36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43"/>
                    <a:pt x="5" y="149"/>
                    <a:pt x="11" y="150"/>
                  </a:cubicBezTo>
                  <a:cubicBezTo>
                    <a:pt x="17" y="151"/>
                    <a:pt x="23" y="147"/>
                    <a:pt x="24" y="140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31" y="179"/>
                    <a:pt x="31" y="179"/>
                    <a:pt x="3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45" y="301"/>
                    <a:pt x="52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70" y="309"/>
                    <a:pt x="77" y="301"/>
                    <a:pt x="77" y="291"/>
                  </a:cubicBezTo>
                  <a:cubicBezTo>
                    <a:pt x="77" y="179"/>
                    <a:pt x="77" y="179"/>
                    <a:pt x="77" y="179"/>
                  </a:cubicBezTo>
                  <a:cubicBezTo>
                    <a:pt x="92" y="179"/>
                    <a:pt x="92" y="179"/>
                    <a:pt x="92" y="179"/>
                  </a:cubicBezTo>
                  <a:cubicBezTo>
                    <a:pt x="92" y="291"/>
                    <a:pt x="92" y="291"/>
                    <a:pt x="92" y="291"/>
                  </a:cubicBezTo>
                  <a:cubicBezTo>
                    <a:pt x="92" y="301"/>
                    <a:pt x="99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17" y="309"/>
                    <a:pt x="124" y="301"/>
                    <a:pt x="124" y="291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38" y="179"/>
                    <a:pt x="138" y="179"/>
                    <a:pt x="138" y="179"/>
                  </a:cubicBezTo>
                  <a:cubicBezTo>
                    <a:pt x="120" y="43"/>
                    <a:pt x="120" y="43"/>
                    <a:pt x="120" y="43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7"/>
                    <a:pt x="152" y="151"/>
                    <a:pt x="158" y="150"/>
                  </a:cubicBezTo>
                  <a:cubicBezTo>
                    <a:pt x="164" y="149"/>
                    <a:pt x="169" y="143"/>
                    <a:pt x="168" y="137"/>
                  </a:cubicBezTo>
                </a:path>
              </a:pathLst>
            </a:custGeom>
            <a:solidFill>
              <a:srgbClr val="EE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33" name="Freeform 13"/>
            <p:cNvSpPr>
              <a:spLocks/>
            </p:cNvSpPr>
            <p:nvPr userDrawn="1"/>
          </p:nvSpPr>
          <p:spPr bwMode="auto">
            <a:xfrm>
              <a:off x="4224338" y="1173163"/>
              <a:ext cx="85725" cy="88900"/>
            </a:xfrm>
            <a:custGeom>
              <a:avLst/>
              <a:gdLst>
                <a:gd name="T0" fmla="*/ 34 w 69"/>
                <a:gd name="T1" fmla="*/ 70 h 70"/>
                <a:gd name="T2" fmla="*/ 35 w 69"/>
                <a:gd name="T3" fmla="*/ 70 h 70"/>
                <a:gd name="T4" fmla="*/ 35 w 69"/>
                <a:gd name="T5" fmla="*/ 70 h 70"/>
                <a:gd name="T6" fmla="*/ 69 w 69"/>
                <a:gd name="T7" fmla="*/ 35 h 70"/>
                <a:gd name="T8" fmla="*/ 35 w 69"/>
                <a:gd name="T9" fmla="*/ 0 h 70"/>
                <a:gd name="T10" fmla="*/ 35 w 69"/>
                <a:gd name="T11" fmla="*/ 0 h 70"/>
                <a:gd name="T12" fmla="*/ 34 w 69"/>
                <a:gd name="T13" fmla="*/ 0 h 70"/>
                <a:gd name="T14" fmla="*/ 0 w 69"/>
                <a:gd name="T15" fmla="*/ 35 h 70"/>
                <a:gd name="T16" fmla="*/ 34 w 69"/>
                <a:gd name="T1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70">
                  <a:moveTo>
                    <a:pt x="34" y="70"/>
                  </a:moveTo>
                  <a:cubicBezTo>
                    <a:pt x="35" y="70"/>
                    <a:pt x="35" y="70"/>
                    <a:pt x="35" y="70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54" y="70"/>
                    <a:pt x="69" y="54"/>
                    <a:pt x="69" y="35"/>
                  </a:cubicBezTo>
                  <a:cubicBezTo>
                    <a:pt x="69" y="16"/>
                    <a:pt x="54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4"/>
                    <a:pt x="15" y="70"/>
                    <a:pt x="34" y="70"/>
                  </a:cubicBezTo>
                </a:path>
              </a:pathLst>
            </a:custGeom>
            <a:solidFill>
              <a:srgbClr val="EE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34" name="Freeform 14"/>
            <p:cNvSpPr>
              <a:spLocks/>
            </p:cNvSpPr>
            <p:nvPr userDrawn="1"/>
          </p:nvSpPr>
          <p:spPr bwMode="auto">
            <a:xfrm>
              <a:off x="1947863" y="2170113"/>
              <a:ext cx="604838" cy="808038"/>
            </a:xfrm>
            <a:custGeom>
              <a:avLst/>
              <a:gdLst>
                <a:gd name="T0" fmla="*/ 483 w 483"/>
                <a:gd name="T1" fmla="*/ 242 h 646"/>
                <a:gd name="T2" fmla="*/ 242 w 483"/>
                <a:gd name="T3" fmla="*/ 485 h 646"/>
                <a:gd name="T4" fmla="*/ 97 w 483"/>
                <a:gd name="T5" fmla="*/ 436 h 646"/>
                <a:gd name="T6" fmla="*/ 97 w 483"/>
                <a:gd name="T7" fmla="*/ 356 h 646"/>
                <a:gd name="T8" fmla="*/ 242 w 483"/>
                <a:gd name="T9" fmla="*/ 426 h 646"/>
                <a:gd name="T10" fmla="*/ 423 w 483"/>
                <a:gd name="T11" fmla="*/ 242 h 646"/>
                <a:gd name="T12" fmla="*/ 242 w 483"/>
                <a:gd name="T13" fmla="*/ 59 h 646"/>
                <a:gd name="T14" fmla="*/ 59 w 483"/>
                <a:gd name="T15" fmla="*/ 245 h 646"/>
                <a:gd name="T16" fmla="*/ 59 w 483"/>
                <a:gd name="T17" fmla="*/ 615 h 646"/>
                <a:gd name="T18" fmla="*/ 30 w 483"/>
                <a:gd name="T19" fmla="*/ 646 h 646"/>
                <a:gd name="T20" fmla="*/ 0 w 483"/>
                <a:gd name="T21" fmla="*/ 616 h 646"/>
                <a:gd name="T22" fmla="*/ 0 w 483"/>
                <a:gd name="T23" fmla="*/ 242 h 646"/>
                <a:gd name="T24" fmla="*/ 242 w 483"/>
                <a:gd name="T25" fmla="*/ 0 h 646"/>
                <a:gd name="T26" fmla="*/ 483 w 483"/>
                <a:gd name="T27" fmla="*/ 242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3" h="646">
                  <a:moveTo>
                    <a:pt x="483" y="242"/>
                  </a:moveTo>
                  <a:cubicBezTo>
                    <a:pt x="483" y="377"/>
                    <a:pt x="377" y="485"/>
                    <a:pt x="242" y="485"/>
                  </a:cubicBezTo>
                  <a:cubicBezTo>
                    <a:pt x="187" y="485"/>
                    <a:pt x="139" y="467"/>
                    <a:pt x="97" y="436"/>
                  </a:cubicBezTo>
                  <a:cubicBezTo>
                    <a:pt x="97" y="356"/>
                    <a:pt x="97" y="356"/>
                    <a:pt x="97" y="356"/>
                  </a:cubicBezTo>
                  <a:cubicBezTo>
                    <a:pt x="133" y="401"/>
                    <a:pt x="184" y="426"/>
                    <a:pt x="242" y="426"/>
                  </a:cubicBezTo>
                  <a:cubicBezTo>
                    <a:pt x="345" y="426"/>
                    <a:pt x="423" y="344"/>
                    <a:pt x="423" y="242"/>
                  </a:cubicBezTo>
                  <a:cubicBezTo>
                    <a:pt x="423" y="141"/>
                    <a:pt x="342" y="59"/>
                    <a:pt x="242" y="59"/>
                  </a:cubicBezTo>
                  <a:cubicBezTo>
                    <a:pt x="141" y="59"/>
                    <a:pt x="59" y="141"/>
                    <a:pt x="59" y="245"/>
                  </a:cubicBezTo>
                  <a:cubicBezTo>
                    <a:pt x="59" y="615"/>
                    <a:pt x="59" y="615"/>
                    <a:pt x="59" y="615"/>
                  </a:cubicBezTo>
                  <a:cubicBezTo>
                    <a:pt x="59" y="632"/>
                    <a:pt x="46" y="646"/>
                    <a:pt x="30" y="646"/>
                  </a:cubicBezTo>
                  <a:cubicBezTo>
                    <a:pt x="13" y="646"/>
                    <a:pt x="0" y="632"/>
                    <a:pt x="0" y="616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0" y="108"/>
                    <a:pt x="108" y="0"/>
                    <a:pt x="242" y="0"/>
                  </a:cubicBezTo>
                  <a:cubicBezTo>
                    <a:pt x="375" y="0"/>
                    <a:pt x="483" y="108"/>
                    <a:pt x="483" y="2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35" name="Freeform 15"/>
            <p:cNvSpPr>
              <a:spLocks noEditPoints="1"/>
            </p:cNvSpPr>
            <p:nvPr userDrawn="1"/>
          </p:nvSpPr>
          <p:spPr bwMode="auto">
            <a:xfrm>
              <a:off x="2608263" y="2170113"/>
              <a:ext cx="604838" cy="608013"/>
            </a:xfrm>
            <a:custGeom>
              <a:avLst/>
              <a:gdLst>
                <a:gd name="T0" fmla="*/ 241 w 483"/>
                <a:gd name="T1" fmla="*/ 0 h 485"/>
                <a:gd name="T2" fmla="*/ 483 w 483"/>
                <a:gd name="T3" fmla="*/ 242 h 485"/>
                <a:gd name="T4" fmla="*/ 241 w 483"/>
                <a:gd name="T5" fmla="*/ 485 h 485"/>
                <a:gd name="T6" fmla="*/ 0 w 483"/>
                <a:gd name="T7" fmla="*/ 242 h 485"/>
                <a:gd name="T8" fmla="*/ 241 w 483"/>
                <a:gd name="T9" fmla="*/ 0 h 485"/>
                <a:gd name="T10" fmla="*/ 241 w 483"/>
                <a:gd name="T11" fmla="*/ 426 h 485"/>
                <a:gd name="T12" fmla="*/ 425 w 483"/>
                <a:gd name="T13" fmla="*/ 242 h 485"/>
                <a:gd name="T14" fmla="*/ 241 w 483"/>
                <a:gd name="T15" fmla="*/ 58 h 485"/>
                <a:gd name="T16" fmla="*/ 59 w 483"/>
                <a:gd name="T17" fmla="*/ 242 h 485"/>
                <a:gd name="T18" fmla="*/ 241 w 483"/>
                <a:gd name="T19" fmla="*/ 42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3" h="485">
                  <a:moveTo>
                    <a:pt x="241" y="0"/>
                  </a:moveTo>
                  <a:cubicBezTo>
                    <a:pt x="376" y="0"/>
                    <a:pt x="483" y="108"/>
                    <a:pt x="483" y="242"/>
                  </a:cubicBezTo>
                  <a:cubicBezTo>
                    <a:pt x="483" y="377"/>
                    <a:pt x="376" y="485"/>
                    <a:pt x="241" y="485"/>
                  </a:cubicBezTo>
                  <a:cubicBezTo>
                    <a:pt x="107" y="485"/>
                    <a:pt x="0" y="377"/>
                    <a:pt x="0" y="242"/>
                  </a:cubicBezTo>
                  <a:cubicBezTo>
                    <a:pt x="0" y="108"/>
                    <a:pt x="107" y="0"/>
                    <a:pt x="241" y="0"/>
                  </a:cubicBezTo>
                  <a:close/>
                  <a:moveTo>
                    <a:pt x="241" y="426"/>
                  </a:moveTo>
                  <a:cubicBezTo>
                    <a:pt x="344" y="426"/>
                    <a:pt x="425" y="344"/>
                    <a:pt x="425" y="242"/>
                  </a:cubicBezTo>
                  <a:cubicBezTo>
                    <a:pt x="425" y="140"/>
                    <a:pt x="344" y="58"/>
                    <a:pt x="241" y="58"/>
                  </a:cubicBezTo>
                  <a:cubicBezTo>
                    <a:pt x="139" y="58"/>
                    <a:pt x="59" y="140"/>
                    <a:pt x="59" y="242"/>
                  </a:cubicBezTo>
                  <a:cubicBezTo>
                    <a:pt x="59" y="344"/>
                    <a:pt x="139" y="426"/>
                    <a:pt x="241" y="4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36" name="Freeform 16"/>
            <p:cNvSpPr>
              <a:spLocks/>
            </p:cNvSpPr>
            <p:nvPr userDrawn="1"/>
          </p:nvSpPr>
          <p:spPr bwMode="auto">
            <a:xfrm>
              <a:off x="3251201" y="2170113"/>
              <a:ext cx="365125" cy="608013"/>
            </a:xfrm>
            <a:custGeom>
              <a:avLst/>
              <a:gdLst>
                <a:gd name="T0" fmla="*/ 248 w 292"/>
                <a:gd name="T1" fmla="*/ 120 h 485"/>
                <a:gd name="T2" fmla="*/ 214 w 292"/>
                <a:gd name="T3" fmla="*/ 98 h 485"/>
                <a:gd name="T4" fmla="*/ 144 w 292"/>
                <a:gd name="T5" fmla="*/ 57 h 485"/>
                <a:gd name="T6" fmla="*/ 76 w 292"/>
                <a:gd name="T7" fmla="*/ 122 h 485"/>
                <a:gd name="T8" fmla="*/ 157 w 292"/>
                <a:gd name="T9" fmla="*/ 200 h 485"/>
                <a:gd name="T10" fmla="*/ 239 w 292"/>
                <a:gd name="T11" fmla="*/ 238 h 485"/>
                <a:gd name="T12" fmla="*/ 292 w 292"/>
                <a:gd name="T13" fmla="*/ 340 h 485"/>
                <a:gd name="T14" fmla="*/ 146 w 292"/>
                <a:gd name="T15" fmla="*/ 485 h 485"/>
                <a:gd name="T16" fmla="*/ 1 w 292"/>
                <a:gd name="T17" fmla="*/ 362 h 485"/>
                <a:gd name="T18" fmla="*/ 0 w 292"/>
                <a:gd name="T19" fmla="*/ 353 h 485"/>
                <a:gd name="T20" fmla="*/ 31 w 292"/>
                <a:gd name="T21" fmla="*/ 322 h 485"/>
                <a:gd name="T22" fmla="*/ 62 w 292"/>
                <a:gd name="T23" fmla="*/ 351 h 485"/>
                <a:gd name="T24" fmla="*/ 148 w 292"/>
                <a:gd name="T25" fmla="*/ 427 h 485"/>
                <a:gd name="T26" fmla="*/ 231 w 292"/>
                <a:gd name="T27" fmla="*/ 350 h 485"/>
                <a:gd name="T28" fmla="*/ 139 w 292"/>
                <a:gd name="T29" fmla="*/ 257 h 485"/>
                <a:gd name="T30" fmla="*/ 14 w 292"/>
                <a:gd name="T31" fmla="*/ 127 h 485"/>
                <a:gd name="T32" fmla="*/ 148 w 292"/>
                <a:gd name="T33" fmla="*/ 0 h 485"/>
                <a:gd name="T34" fmla="*/ 272 w 292"/>
                <a:gd name="T35" fmla="*/ 89 h 485"/>
                <a:gd name="T36" fmla="*/ 248 w 292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2" h="485">
                  <a:moveTo>
                    <a:pt x="248" y="120"/>
                  </a:moveTo>
                  <a:cubicBezTo>
                    <a:pt x="233" y="122"/>
                    <a:pt x="221" y="115"/>
                    <a:pt x="214" y="98"/>
                  </a:cubicBezTo>
                  <a:cubicBezTo>
                    <a:pt x="201" y="70"/>
                    <a:pt x="176" y="57"/>
                    <a:pt x="144" y="57"/>
                  </a:cubicBezTo>
                  <a:cubicBezTo>
                    <a:pt x="106" y="57"/>
                    <a:pt x="76" y="89"/>
                    <a:pt x="76" y="122"/>
                  </a:cubicBezTo>
                  <a:cubicBezTo>
                    <a:pt x="76" y="158"/>
                    <a:pt x="97" y="179"/>
                    <a:pt x="157" y="200"/>
                  </a:cubicBezTo>
                  <a:cubicBezTo>
                    <a:pt x="185" y="210"/>
                    <a:pt x="217" y="223"/>
                    <a:pt x="239" y="238"/>
                  </a:cubicBezTo>
                  <a:cubicBezTo>
                    <a:pt x="275" y="264"/>
                    <a:pt x="292" y="298"/>
                    <a:pt x="292" y="340"/>
                  </a:cubicBezTo>
                  <a:cubicBezTo>
                    <a:pt x="292" y="428"/>
                    <a:pt x="231" y="485"/>
                    <a:pt x="146" y="485"/>
                  </a:cubicBezTo>
                  <a:cubicBezTo>
                    <a:pt x="67" y="485"/>
                    <a:pt x="20" y="436"/>
                    <a:pt x="1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4" y="322"/>
                    <a:pt x="31" y="322"/>
                  </a:cubicBezTo>
                  <a:cubicBezTo>
                    <a:pt x="48" y="322"/>
                    <a:pt x="59" y="334"/>
                    <a:pt x="62" y="351"/>
                  </a:cubicBezTo>
                  <a:cubicBezTo>
                    <a:pt x="70" y="395"/>
                    <a:pt x="106" y="427"/>
                    <a:pt x="148" y="427"/>
                  </a:cubicBezTo>
                  <a:cubicBezTo>
                    <a:pt x="191" y="427"/>
                    <a:pt x="231" y="392"/>
                    <a:pt x="231" y="350"/>
                  </a:cubicBezTo>
                  <a:cubicBezTo>
                    <a:pt x="231" y="308"/>
                    <a:pt x="205" y="279"/>
                    <a:pt x="139" y="257"/>
                  </a:cubicBezTo>
                  <a:cubicBezTo>
                    <a:pt x="46" y="226"/>
                    <a:pt x="14" y="190"/>
                    <a:pt x="14" y="127"/>
                  </a:cubicBezTo>
                  <a:cubicBezTo>
                    <a:pt x="14" y="54"/>
                    <a:pt x="72" y="0"/>
                    <a:pt x="148" y="0"/>
                  </a:cubicBezTo>
                  <a:cubicBezTo>
                    <a:pt x="215" y="0"/>
                    <a:pt x="272" y="47"/>
                    <a:pt x="272" y="89"/>
                  </a:cubicBezTo>
                  <a:cubicBezTo>
                    <a:pt x="272" y="103"/>
                    <a:pt x="266" y="117"/>
                    <a:pt x="248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37" name="Freeform 17"/>
            <p:cNvSpPr>
              <a:spLocks/>
            </p:cNvSpPr>
            <p:nvPr userDrawn="1"/>
          </p:nvSpPr>
          <p:spPr bwMode="auto">
            <a:xfrm>
              <a:off x="3671888" y="2170113"/>
              <a:ext cx="363538" cy="608013"/>
            </a:xfrm>
            <a:custGeom>
              <a:avLst/>
              <a:gdLst>
                <a:gd name="T0" fmla="*/ 248 w 291"/>
                <a:gd name="T1" fmla="*/ 120 h 485"/>
                <a:gd name="T2" fmla="*/ 213 w 291"/>
                <a:gd name="T3" fmla="*/ 98 h 485"/>
                <a:gd name="T4" fmla="*/ 143 w 291"/>
                <a:gd name="T5" fmla="*/ 57 h 485"/>
                <a:gd name="T6" fmla="*/ 75 w 291"/>
                <a:gd name="T7" fmla="*/ 122 h 485"/>
                <a:gd name="T8" fmla="*/ 156 w 291"/>
                <a:gd name="T9" fmla="*/ 200 h 485"/>
                <a:gd name="T10" fmla="*/ 238 w 291"/>
                <a:gd name="T11" fmla="*/ 238 h 485"/>
                <a:gd name="T12" fmla="*/ 291 w 291"/>
                <a:gd name="T13" fmla="*/ 340 h 485"/>
                <a:gd name="T14" fmla="*/ 145 w 291"/>
                <a:gd name="T15" fmla="*/ 485 h 485"/>
                <a:gd name="T16" fmla="*/ 1 w 291"/>
                <a:gd name="T17" fmla="*/ 362 h 485"/>
                <a:gd name="T18" fmla="*/ 0 w 291"/>
                <a:gd name="T19" fmla="*/ 353 h 485"/>
                <a:gd name="T20" fmla="*/ 30 w 291"/>
                <a:gd name="T21" fmla="*/ 322 h 485"/>
                <a:gd name="T22" fmla="*/ 62 w 291"/>
                <a:gd name="T23" fmla="*/ 351 h 485"/>
                <a:gd name="T24" fmla="*/ 147 w 291"/>
                <a:gd name="T25" fmla="*/ 427 h 485"/>
                <a:gd name="T26" fmla="*/ 230 w 291"/>
                <a:gd name="T27" fmla="*/ 350 h 485"/>
                <a:gd name="T28" fmla="*/ 138 w 291"/>
                <a:gd name="T29" fmla="*/ 257 h 485"/>
                <a:gd name="T30" fmla="*/ 13 w 291"/>
                <a:gd name="T31" fmla="*/ 127 h 485"/>
                <a:gd name="T32" fmla="*/ 147 w 291"/>
                <a:gd name="T33" fmla="*/ 0 h 485"/>
                <a:gd name="T34" fmla="*/ 272 w 291"/>
                <a:gd name="T35" fmla="*/ 89 h 485"/>
                <a:gd name="T36" fmla="*/ 248 w 291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1" h="485">
                  <a:moveTo>
                    <a:pt x="248" y="120"/>
                  </a:moveTo>
                  <a:cubicBezTo>
                    <a:pt x="232" y="122"/>
                    <a:pt x="221" y="115"/>
                    <a:pt x="213" y="98"/>
                  </a:cubicBezTo>
                  <a:cubicBezTo>
                    <a:pt x="201" y="70"/>
                    <a:pt x="176" y="57"/>
                    <a:pt x="143" y="57"/>
                  </a:cubicBezTo>
                  <a:cubicBezTo>
                    <a:pt x="105" y="57"/>
                    <a:pt x="75" y="89"/>
                    <a:pt x="75" y="122"/>
                  </a:cubicBezTo>
                  <a:cubicBezTo>
                    <a:pt x="75" y="158"/>
                    <a:pt x="96" y="179"/>
                    <a:pt x="156" y="200"/>
                  </a:cubicBezTo>
                  <a:cubicBezTo>
                    <a:pt x="184" y="210"/>
                    <a:pt x="217" y="223"/>
                    <a:pt x="238" y="238"/>
                  </a:cubicBezTo>
                  <a:cubicBezTo>
                    <a:pt x="274" y="264"/>
                    <a:pt x="291" y="298"/>
                    <a:pt x="291" y="340"/>
                  </a:cubicBezTo>
                  <a:cubicBezTo>
                    <a:pt x="291" y="428"/>
                    <a:pt x="231" y="485"/>
                    <a:pt x="145" y="485"/>
                  </a:cubicBezTo>
                  <a:cubicBezTo>
                    <a:pt x="67" y="485"/>
                    <a:pt x="19" y="436"/>
                    <a:pt x="1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3" y="322"/>
                    <a:pt x="30" y="322"/>
                  </a:cubicBezTo>
                  <a:cubicBezTo>
                    <a:pt x="48" y="322"/>
                    <a:pt x="58" y="334"/>
                    <a:pt x="62" y="351"/>
                  </a:cubicBezTo>
                  <a:cubicBezTo>
                    <a:pt x="69" y="395"/>
                    <a:pt x="105" y="427"/>
                    <a:pt x="147" y="427"/>
                  </a:cubicBezTo>
                  <a:cubicBezTo>
                    <a:pt x="191" y="427"/>
                    <a:pt x="230" y="392"/>
                    <a:pt x="230" y="350"/>
                  </a:cubicBezTo>
                  <a:cubicBezTo>
                    <a:pt x="230" y="308"/>
                    <a:pt x="204" y="279"/>
                    <a:pt x="138" y="257"/>
                  </a:cubicBezTo>
                  <a:cubicBezTo>
                    <a:pt x="46" y="226"/>
                    <a:pt x="13" y="190"/>
                    <a:pt x="13" y="127"/>
                  </a:cubicBezTo>
                  <a:cubicBezTo>
                    <a:pt x="13" y="54"/>
                    <a:pt x="71" y="0"/>
                    <a:pt x="147" y="0"/>
                  </a:cubicBezTo>
                  <a:cubicBezTo>
                    <a:pt x="215" y="0"/>
                    <a:pt x="272" y="47"/>
                    <a:pt x="272" y="89"/>
                  </a:cubicBezTo>
                  <a:cubicBezTo>
                    <a:pt x="272" y="103"/>
                    <a:pt x="265" y="117"/>
                    <a:pt x="248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38" name="Freeform 18"/>
            <p:cNvSpPr>
              <a:spLocks noEditPoints="1"/>
            </p:cNvSpPr>
            <p:nvPr userDrawn="1"/>
          </p:nvSpPr>
          <p:spPr bwMode="auto">
            <a:xfrm>
              <a:off x="4103688" y="2011363"/>
              <a:ext cx="104775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9" y="83"/>
                    <a:pt x="0" y="6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39" name="Freeform 19"/>
            <p:cNvSpPr>
              <a:spLocks noEditPoints="1"/>
            </p:cNvSpPr>
            <p:nvPr userDrawn="1"/>
          </p:nvSpPr>
          <p:spPr bwMode="auto">
            <a:xfrm>
              <a:off x="4106863" y="1657350"/>
              <a:ext cx="790575" cy="1120775"/>
            </a:xfrm>
            <a:custGeom>
              <a:avLst/>
              <a:gdLst>
                <a:gd name="T0" fmla="*/ 391 w 632"/>
                <a:gd name="T1" fmla="*/ 410 h 895"/>
                <a:gd name="T2" fmla="*/ 247 w 632"/>
                <a:gd name="T3" fmla="*/ 454 h 895"/>
                <a:gd name="T4" fmla="*/ 247 w 632"/>
                <a:gd name="T5" fmla="*/ 534 h 895"/>
                <a:gd name="T6" fmla="*/ 391 w 632"/>
                <a:gd name="T7" fmla="*/ 468 h 895"/>
                <a:gd name="T8" fmla="*/ 571 w 632"/>
                <a:gd name="T9" fmla="*/ 652 h 895"/>
                <a:gd name="T10" fmla="*/ 391 w 632"/>
                <a:gd name="T11" fmla="*/ 836 h 895"/>
                <a:gd name="T12" fmla="*/ 209 w 632"/>
                <a:gd name="T13" fmla="*/ 650 h 895"/>
                <a:gd name="T14" fmla="*/ 209 w 632"/>
                <a:gd name="T15" fmla="*/ 83 h 895"/>
                <a:gd name="T16" fmla="*/ 554 w 632"/>
                <a:gd name="T17" fmla="*/ 83 h 895"/>
                <a:gd name="T18" fmla="*/ 596 w 632"/>
                <a:gd name="T19" fmla="*/ 42 h 895"/>
                <a:gd name="T20" fmla="*/ 554 w 632"/>
                <a:gd name="T21" fmla="*/ 0 h 895"/>
                <a:gd name="T22" fmla="*/ 41 w 632"/>
                <a:gd name="T23" fmla="*/ 0 h 895"/>
                <a:gd name="T24" fmla="*/ 0 w 632"/>
                <a:gd name="T25" fmla="*/ 42 h 895"/>
                <a:gd name="T26" fmla="*/ 41 w 632"/>
                <a:gd name="T27" fmla="*/ 83 h 895"/>
                <a:gd name="T28" fmla="*/ 150 w 632"/>
                <a:gd name="T29" fmla="*/ 83 h 895"/>
                <a:gd name="T30" fmla="*/ 150 w 632"/>
                <a:gd name="T31" fmla="*/ 652 h 895"/>
                <a:gd name="T32" fmla="*/ 391 w 632"/>
                <a:gd name="T33" fmla="*/ 895 h 895"/>
                <a:gd name="T34" fmla="*/ 632 w 632"/>
                <a:gd name="T35" fmla="*/ 652 h 895"/>
                <a:gd name="T36" fmla="*/ 391 w 632"/>
                <a:gd name="T37" fmla="*/ 410 h 895"/>
                <a:gd name="T38" fmla="*/ 14 w 632"/>
                <a:gd name="T39" fmla="*/ 42 h 895"/>
                <a:gd name="T40" fmla="*/ 41 w 632"/>
                <a:gd name="T41" fmla="*/ 15 h 895"/>
                <a:gd name="T42" fmla="*/ 554 w 632"/>
                <a:gd name="T43" fmla="*/ 15 h 895"/>
                <a:gd name="T44" fmla="*/ 582 w 632"/>
                <a:gd name="T45" fmla="*/ 42 h 895"/>
                <a:gd name="T46" fmla="*/ 554 w 632"/>
                <a:gd name="T47" fmla="*/ 69 h 895"/>
                <a:gd name="T48" fmla="*/ 41 w 632"/>
                <a:gd name="T49" fmla="*/ 69 h 895"/>
                <a:gd name="T50" fmla="*/ 14 w 632"/>
                <a:gd name="T51" fmla="*/ 42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32" h="895">
                  <a:moveTo>
                    <a:pt x="391" y="410"/>
                  </a:moveTo>
                  <a:cubicBezTo>
                    <a:pt x="336" y="410"/>
                    <a:pt x="289" y="423"/>
                    <a:pt x="247" y="454"/>
                  </a:cubicBezTo>
                  <a:cubicBezTo>
                    <a:pt x="247" y="534"/>
                    <a:pt x="247" y="534"/>
                    <a:pt x="247" y="534"/>
                  </a:cubicBezTo>
                  <a:cubicBezTo>
                    <a:pt x="284" y="489"/>
                    <a:pt x="333" y="468"/>
                    <a:pt x="391" y="468"/>
                  </a:cubicBezTo>
                  <a:cubicBezTo>
                    <a:pt x="494" y="468"/>
                    <a:pt x="571" y="551"/>
                    <a:pt x="571" y="652"/>
                  </a:cubicBezTo>
                  <a:cubicBezTo>
                    <a:pt x="571" y="754"/>
                    <a:pt x="491" y="836"/>
                    <a:pt x="391" y="836"/>
                  </a:cubicBezTo>
                  <a:cubicBezTo>
                    <a:pt x="290" y="836"/>
                    <a:pt x="209" y="754"/>
                    <a:pt x="209" y="650"/>
                  </a:cubicBezTo>
                  <a:cubicBezTo>
                    <a:pt x="209" y="83"/>
                    <a:pt x="209" y="83"/>
                    <a:pt x="209" y="83"/>
                  </a:cubicBezTo>
                  <a:cubicBezTo>
                    <a:pt x="554" y="83"/>
                    <a:pt x="554" y="83"/>
                    <a:pt x="554" y="83"/>
                  </a:cubicBezTo>
                  <a:cubicBezTo>
                    <a:pt x="577" y="83"/>
                    <a:pt x="596" y="64"/>
                    <a:pt x="596" y="42"/>
                  </a:cubicBezTo>
                  <a:cubicBezTo>
                    <a:pt x="596" y="19"/>
                    <a:pt x="577" y="0"/>
                    <a:pt x="554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9" y="0"/>
                    <a:pt x="0" y="19"/>
                    <a:pt x="0" y="42"/>
                  </a:cubicBezTo>
                  <a:cubicBezTo>
                    <a:pt x="0" y="64"/>
                    <a:pt x="19" y="83"/>
                    <a:pt x="41" y="83"/>
                  </a:cubicBezTo>
                  <a:cubicBezTo>
                    <a:pt x="150" y="83"/>
                    <a:pt x="150" y="83"/>
                    <a:pt x="150" y="83"/>
                  </a:cubicBezTo>
                  <a:cubicBezTo>
                    <a:pt x="150" y="652"/>
                    <a:pt x="150" y="652"/>
                    <a:pt x="150" y="652"/>
                  </a:cubicBezTo>
                  <a:cubicBezTo>
                    <a:pt x="150" y="787"/>
                    <a:pt x="257" y="895"/>
                    <a:pt x="391" y="895"/>
                  </a:cubicBezTo>
                  <a:cubicBezTo>
                    <a:pt x="524" y="895"/>
                    <a:pt x="632" y="787"/>
                    <a:pt x="632" y="652"/>
                  </a:cubicBezTo>
                  <a:cubicBezTo>
                    <a:pt x="632" y="518"/>
                    <a:pt x="526" y="410"/>
                    <a:pt x="391" y="410"/>
                  </a:cubicBezTo>
                  <a:close/>
                  <a:moveTo>
                    <a:pt x="14" y="42"/>
                  </a:moveTo>
                  <a:cubicBezTo>
                    <a:pt x="14" y="27"/>
                    <a:pt x="26" y="15"/>
                    <a:pt x="41" y="15"/>
                  </a:cubicBezTo>
                  <a:cubicBezTo>
                    <a:pt x="554" y="15"/>
                    <a:pt x="554" y="15"/>
                    <a:pt x="554" y="15"/>
                  </a:cubicBezTo>
                  <a:cubicBezTo>
                    <a:pt x="570" y="15"/>
                    <a:pt x="582" y="27"/>
                    <a:pt x="582" y="42"/>
                  </a:cubicBezTo>
                  <a:cubicBezTo>
                    <a:pt x="582" y="57"/>
                    <a:pt x="570" y="69"/>
                    <a:pt x="554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26" y="69"/>
                    <a:pt x="14" y="57"/>
                    <a:pt x="14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0" name="Freeform 20"/>
            <p:cNvSpPr>
              <a:spLocks noEditPoints="1"/>
            </p:cNvSpPr>
            <p:nvPr userDrawn="1"/>
          </p:nvSpPr>
          <p:spPr bwMode="auto">
            <a:xfrm>
              <a:off x="4968876" y="2011363"/>
              <a:ext cx="104775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1" name="Freeform 21"/>
            <p:cNvSpPr>
              <a:spLocks noEditPoints="1"/>
            </p:cNvSpPr>
            <p:nvPr userDrawn="1"/>
          </p:nvSpPr>
          <p:spPr bwMode="auto">
            <a:xfrm>
              <a:off x="5353051" y="2011363"/>
              <a:ext cx="106363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auto">
            <a:xfrm>
              <a:off x="5522913" y="1965325"/>
              <a:ext cx="330200" cy="806450"/>
            </a:xfrm>
            <a:custGeom>
              <a:avLst/>
              <a:gdLst>
                <a:gd name="T0" fmla="*/ 161 w 264"/>
                <a:gd name="T1" fmla="*/ 175 h 644"/>
                <a:gd name="T2" fmla="*/ 264 w 264"/>
                <a:gd name="T3" fmla="*/ 175 h 644"/>
                <a:gd name="T4" fmla="*/ 264 w 264"/>
                <a:gd name="T5" fmla="*/ 233 h 644"/>
                <a:gd name="T6" fmla="*/ 161 w 264"/>
                <a:gd name="T7" fmla="*/ 233 h 644"/>
                <a:gd name="T8" fmla="*/ 161 w 264"/>
                <a:gd name="T9" fmla="*/ 612 h 644"/>
                <a:gd name="T10" fmla="*/ 132 w 264"/>
                <a:gd name="T11" fmla="*/ 644 h 644"/>
                <a:gd name="T12" fmla="*/ 102 w 264"/>
                <a:gd name="T13" fmla="*/ 612 h 644"/>
                <a:gd name="T14" fmla="*/ 102 w 264"/>
                <a:gd name="T15" fmla="*/ 233 h 644"/>
                <a:gd name="T16" fmla="*/ 0 w 264"/>
                <a:gd name="T17" fmla="*/ 233 h 644"/>
                <a:gd name="T18" fmla="*/ 0 w 264"/>
                <a:gd name="T19" fmla="*/ 175 h 644"/>
                <a:gd name="T20" fmla="*/ 102 w 264"/>
                <a:gd name="T21" fmla="*/ 175 h 644"/>
                <a:gd name="T22" fmla="*/ 102 w 264"/>
                <a:gd name="T23" fmla="*/ 32 h 644"/>
                <a:gd name="T24" fmla="*/ 132 w 264"/>
                <a:gd name="T25" fmla="*/ 0 h 644"/>
                <a:gd name="T26" fmla="*/ 161 w 264"/>
                <a:gd name="T27" fmla="*/ 32 h 644"/>
                <a:gd name="T28" fmla="*/ 161 w 264"/>
                <a:gd name="T29" fmla="*/ 175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4" h="644">
                  <a:moveTo>
                    <a:pt x="161" y="175"/>
                  </a:moveTo>
                  <a:cubicBezTo>
                    <a:pt x="264" y="175"/>
                    <a:pt x="264" y="175"/>
                    <a:pt x="264" y="175"/>
                  </a:cubicBezTo>
                  <a:cubicBezTo>
                    <a:pt x="264" y="233"/>
                    <a:pt x="264" y="233"/>
                    <a:pt x="264" y="233"/>
                  </a:cubicBezTo>
                  <a:cubicBezTo>
                    <a:pt x="161" y="233"/>
                    <a:pt x="161" y="233"/>
                    <a:pt x="161" y="233"/>
                  </a:cubicBezTo>
                  <a:cubicBezTo>
                    <a:pt x="161" y="612"/>
                    <a:pt x="161" y="612"/>
                    <a:pt x="161" y="612"/>
                  </a:cubicBezTo>
                  <a:cubicBezTo>
                    <a:pt x="161" y="630"/>
                    <a:pt x="149" y="644"/>
                    <a:pt x="132" y="644"/>
                  </a:cubicBezTo>
                  <a:cubicBezTo>
                    <a:pt x="114" y="644"/>
                    <a:pt x="102" y="630"/>
                    <a:pt x="102" y="612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102" y="175"/>
                    <a:pt x="102" y="175"/>
                    <a:pt x="102" y="175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14"/>
                    <a:pt x="114" y="0"/>
                    <a:pt x="132" y="0"/>
                  </a:cubicBezTo>
                  <a:cubicBezTo>
                    <a:pt x="149" y="0"/>
                    <a:pt x="161" y="14"/>
                    <a:pt x="161" y="32"/>
                  </a:cubicBezTo>
                  <a:lnTo>
                    <a:pt x="161" y="17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3" name="Freeform 23"/>
            <p:cNvSpPr>
              <a:spLocks noEditPoints="1"/>
            </p:cNvSpPr>
            <p:nvPr userDrawn="1"/>
          </p:nvSpPr>
          <p:spPr bwMode="auto">
            <a:xfrm>
              <a:off x="5913438" y="2011363"/>
              <a:ext cx="106363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9" y="83"/>
                    <a:pt x="0" y="6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4" name="Freeform 24"/>
            <p:cNvSpPr>
              <a:spLocks/>
            </p:cNvSpPr>
            <p:nvPr userDrawn="1"/>
          </p:nvSpPr>
          <p:spPr bwMode="auto">
            <a:xfrm>
              <a:off x="6086476" y="2171700"/>
              <a:ext cx="598488" cy="606425"/>
            </a:xfrm>
            <a:custGeom>
              <a:avLst/>
              <a:gdLst>
                <a:gd name="T0" fmla="*/ 139 w 478"/>
                <a:gd name="T1" fmla="*/ 205 h 484"/>
                <a:gd name="T2" fmla="*/ 413 w 478"/>
                <a:gd name="T3" fmla="*/ 205 h 484"/>
                <a:gd name="T4" fmla="*/ 239 w 478"/>
                <a:gd name="T5" fmla="*/ 56 h 484"/>
                <a:gd name="T6" fmla="*/ 60 w 478"/>
                <a:gd name="T7" fmla="*/ 237 h 484"/>
                <a:gd name="T8" fmla="*/ 238 w 478"/>
                <a:gd name="T9" fmla="*/ 425 h 484"/>
                <a:gd name="T10" fmla="*/ 396 w 478"/>
                <a:gd name="T11" fmla="*/ 335 h 484"/>
                <a:gd name="T12" fmla="*/ 426 w 478"/>
                <a:gd name="T13" fmla="*/ 318 h 484"/>
                <a:gd name="T14" fmla="*/ 455 w 478"/>
                <a:gd name="T15" fmla="*/ 349 h 484"/>
                <a:gd name="T16" fmla="*/ 449 w 478"/>
                <a:gd name="T17" fmla="*/ 369 h 484"/>
                <a:gd name="T18" fmla="*/ 449 w 478"/>
                <a:gd name="T19" fmla="*/ 369 h 484"/>
                <a:gd name="T20" fmla="*/ 239 w 478"/>
                <a:gd name="T21" fmla="*/ 484 h 484"/>
                <a:gd name="T22" fmla="*/ 0 w 478"/>
                <a:gd name="T23" fmla="*/ 242 h 484"/>
                <a:gd name="T24" fmla="*/ 238 w 478"/>
                <a:gd name="T25" fmla="*/ 0 h 484"/>
                <a:gd name="T26" fmla="*/ 478 w 478"/>
                <a:gd name="T27" fmla="*/ 235 h 484"/>
                <a:gd name="T28" fmla="*/ 449 w 478"/>
                <a:gd name="T29" fmla="*/ 265 h 484"/>
                <a:gd name="T30" fmla="*/ 139 w 478"/>
                <a:gd name="T31" fmla="*/ 265 h 484"/>
                <a:gd name="T32" fmla="*/ 111 w 478"/>
                <a:gd name="T33" fmla="*/ 236 h 484"/>
                <a:gd name="T34" fmla="*/ 139 w 478"/>
                <a:gd name="T35" fmla="*/ 205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8" h="484">
                  <a:moveTo>
                    <a:pt x="139" y="205"/>
                  </a:moveTo>
                  <a:cubicBezTo>
                    <a:pt x="413" y="205"/>
                    <a:pt x="413" y="205"/>
                    <a:pt x="413" y="205"/>
                  </a:cubicBezTo>
                  <a:cubicBezTo>
                    <a:pt x="398" y="118"/>
                    <a:pt x="323" y="56"/>
                    <a:pt x="239" y="56"/>
                  </a:cubicBezTo>
                  <a:cubicBezTo>
                    <a:pt x="146" y="56"/>
                    <a:pt x="60" y="135"/>
                    <a:pt x="60" y="237"/>
                  </a:cubicBezTo>
                  <a:cubicBezTo>
                    <a:pt x="60" y="336"/>
                    <a:pt x="131" y="420"/>
                    <a:pt x="238" y="425"/>
                  </a:cubicBezTo>
                  <a:cubicBezTo>
                    <a:pt x="299" y="427"/>
                    <a:pt x="361" y="392"/>
                    <a:pt x="396" y="335"/>
                  </a:cubicBezTo>
                  <a:cubicBezTo>
                    <a:pt x="402" y="325"/>
                    <a:pt x="413" y="318"/>
                    <a:pt x="426" y="318"/>
                  </a:cubicBezTo>
                  <a:cubicBezTo>
                    <a:pt x="444" y="318"/>
                    <a:pt x="455" y="331"/>
                    <a:pt x="455" y="349"/>
                  </a:cubicBezTo>
                  <a:cubicBezTo>
                    <a:pt x="455" y="356"/>
                    <a:pt x="453" y="363"/>
                    <a:pt x="449" y="369"/>
                  </a:cubicBezTo>
                  <a:cubicBezTo>
                    <a:pt x="449" y="369"/>
                    <a:pt x="449" y="369"/>
                    <a:pt x="449" y="369"/>
                  </a:cubicBezTo>
                  <a:cubicBezTo>
                    <a:pt x="407" y="441"/>
                    <a:pt x="327" y="484"/>
                    <a:pt x="239" y="484"/>
                  </a:cubicBezTo>
                  <a:cubicBezTo>
                    <a:pt x="103" y="480"/>
                    <a:pt x="0" y="377"/>
                    <a:pt x="0" y="242"/>
                  </a:cubicBezTo>
                  <a:cubicBezTo>
                    <a:pt x="0" y="107"/>
                    <a:pt x="103" y="0"/>
                    <a:pt x="238" y="0"/>
                  </a:cubicBezTo>
                  <a:cubicBezTo>
                    <a:pt x="361" y="0"/>
                    <a:pt x="478" y="95"/>
                    <a:pt x="478" y="235"/>
                  </a:cubicBezTo>
                  <a:cubicBezTo>
                    <a:pt x="478" y="254"/>
                    <a:pt x="465" y="265"/>
                    <a:pt x="449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23" y="265"/>
                    <a:pt x="111" y="252"/>
                    <a:pt x="111" y="236"/>
                  </a:cubicBezTo>
                  <a:cubicBezTo>
                    <a:pt x="111" y="220"/>
                    <a:pt x="123" y="205"/>
                    <a:pt x="139" y="2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5" name="Freeform 25"/>
            <p:cNvSpPr>
              <a:spLocks/>
            </p:cNvSpPr>
            <p:nvPr userDrawn="1"/>
          </p:nvSpPr>
          <p:spPr bwMode="auto">
            <a:xfrm>
              <a:off x="6716713" y="2170113"/>
              <a:ext cx="363538" cy="608013"/>
            </a:xfrm>
            <a:custGeom>
              <a:avLst/>
              <a:gdLst>
                <a:gd name="T0" fmla="*/ 247 w 291"/>
                <a:gd name="T1" fmla="*/ 120 h 485"/>
                <a:gd name="T2" fmla="*/ 213 w 291"/>
                <a:gd name="T3" fmla="*/ 98 h 485"/>
                <a:gd name="T4" fmla="*/ 143 w 291"/>
                <a:gd name="T5" fmla="*/ 57 h 485"/>
                <a:gd name="T6" fmla="*/ 75 w 291"/>
                <a:gd name="T7" fmla="*/ 122 h 485"/>
                <a:gd name="T8" fmla="*/ 156 w 291"/>
                <a:gd name="T9" fmla="*/ 200 h 485"/>
                <a:gd name="T10" fmla="*/ 238 w 291"/>
                <a:gd name="T11" fmla="*/ 238 h 485"/>
                <a:gd name="T12" fmla="*/ 291 w 291"/>
                <a:gd name="T13" fmla="*/ 340 h 485"/>
                <a:gd name="T14" fmla="*/ 145 w 291"/>
                <a:gd name="T15" fmla="*/ 485 h 485"/>
                <a:gd name="T16" fmla="*/ 0 w 291"/>
                <a:gd name="T17" fmla="*/ 362 h 485"/>
                <a:gd name="T18" fmla="*/ 0 w 291"/>
                <a:gd name="T19" fmla="*/ 353 h 485"/>
                <a:gd name="T20" fmla="*/ 30 w 291"/>
                <a:gd name="T21" fmla="*/ 322 h 485"/>
                <a:gd name="T22" fmla="*/ 61 w 291"/>
                <a:gd name="T23" fmla="*/ 351 h 485"/>
                <a:gd name="T24" fmla="*/ 147 w 291"/>
                <a:gd name="T25" fmla="*/ 427 h 485"/>
                <a:gd name="T26" fmla="*/ 230 w 291"/>
                <a:gd name="T27" fmla="*/ 350 h 485"/>
                <a:gd name="T28" fmla="*/ 138 w 291"/>
                <a:gd name="T29" fmla="*/ 257 h 485"/>
                <a:gd name="T30" fmla="*/ 13 w 291"/>
                <a:gd name="T31" fmla="*/ 127 h 485"/>
                <a:gd name="T32" fmla="*/ 147 w 291"/>
                <a:gd name="T33" fmla="*/ 0 h 485"/>
                <a:gd name="T34" fmla="*/ 271 w 291"/>
                <a:gd name="T35" fmla="*/ 89 h 485"/>
                <a:gd name="T36" fmla="*/ 247 w 291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1" h="485">
                  <a:moveTo>
                    <a:pt x="247" y="120"/>
                  </a:moveTo>
                  <a:cubicBezTo>
                    <a:pt x="232" y="122"/>
                    <a:pt x="220" y="115"/>
                    <a:pt x="213" y="98"/>
                  </a:cubicBezTo>
                  <a:cubicBezTo>
                    <a:pt x="200" y="70"/>
                    <a:pt x="175" y="57"/>
                    <a:pt x="143" y="57"/>
                  </a:cubicBezTo>
                  <a:cubicBezTo>
                    <a:pt x="105" y="57"/>
                    <a:pt x="75" y="89"/>
                    <a:pt x="75" y="122"/>
                  </a:cubicBezTo>
                  <a:cubicBezTo>
                    <a:pt x="75" y="158"/>
                    <a:pt x="96" y="179"/>
                    <a:pt x="156" y="200"/>
                  </a:cubicBezTo>
                  <a:cubicBezTo>
                    <a:pt x="184" y="210"/>
                    <a:pt x="216" y="223"/>
                    <a:pt x="238" y="238"/>
                  </a:cubicBezTo>
                  <a:cubicBezTo>
                    <a:pt x="274" y="264"/>
                    <a:pt x="291" y="298"/>
                    <a:pt x="291" y="340"/>
                  </a:cubicBezTo>
                  <a:cubicBezTo>
                    <a:pt x="291" y="428"/>
                    <a:pt x="230" y="485"/>
                    <a:pt x="145" y="485"/>
                  </a:cubicBezTo>
                  <a:cubicBezTo>
                    <a:pt x="66" y="485"/>
                    <a:pt x="19" y="436"/>
                    <a:pt x="0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3" y="322"/>
                    <a:pt x="30" y="322"/>
                  </a:cubicBezTo>
                  <a:cubicBezTo>
                    <a:pt x="47" y="322"/>
                    <a:pt x="58" y="334"/>
                    <a:pt x="61" y="351"/>
                  </a:cubicBezTo>
                  <a:cubicBezTo>
                    <a:pt x="69" y="395"/>
                    <a:pt x="105" y="427"/>
                    <a:pt x="147" y="427"/>
                  </a:cubicBezTo>
                  <a:cubicBezTo>
                    <a:pt x="190" y="427"/>
                    <a:pt x="230" y="392"/>
                    <a:pt x="230" y="350"/>
                  </a:cubicBezTo>
                  <a:cubicBezTo>
                    <a:pt x="230" y="308"/>
                    <a:pt x="204" y="279"/>
                    <a:pt x="138" y="257"/>
                  </a:cubicBezTo>
                  <a:cubicBezTo>
                    <a:pt x="46" y="226"/>
                    <a:pt x="13" y="190"/>
                    <a:pt x="13" y="127"/>
                  </a:cubicBezTo>
                  <a:cubicBezTo>
                    <a:pt x="13" y="54"/>
                    <a:pt x="71" y="0"/>
                    <a:pt x="147" y="0"/>
                  </a:cubicBezTo>
                  <a:cubicBezTo>
                    <a:pt x="215" y="0"/>
                    <a:pt x="271" y="47"/>
                    <a:pt x="271" y="89"/>
                  </a:cubicBezTo>
                  <a:cubicBezTo>
                    <a:pt x="271" y="103"/>
                    <a:pt x="265" y="117"/>
                    <a:pt x="247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6" name="Freeform 26"/>
            <p:cNvSpPr>
              <a:spLocks/>
            </p:cNvSpPr>
            <p:nvPr userDrawn="1"/>
          </p:nvSpPr>
          <p:spPr bwMode="auto">
            <a:xfrm>
              <a:off x="4992688" y="866775"/>
              <a:ext cx="434975" cy="1905000"/>
            </a:xfrm>
            <a:custGeom>
              <a:avLst/>
              <a:gdLst>
                <a:gd name="T0" fmla="*/ 334 w 347"/>
                <a:gd name="T1" fmla="*/ 147 h 1523"/>
                <a:gd name="T2" fmla="*/ 201 w 347"/>
                <a:gd name="T3" fmla="*/ 13 h 1523"/>
                <a:gd name="T4" fmla="*/ 152 w 347"/>
                <a:gd name="T5" fmla="*/ 13 h 1523"/>
                <a:gd name="T6" fmla="*/ 14 w 347"/>
                <a:gd name="T7" fmla="*/ 145 h 1523"/>
                <a:gd name="T8" fmla="*/ 13 w 347"/>
                <a:gd name="T9" fmla="*/ 194 h 1523"/>
                <a:gd name="T10" fmla="*/ 61 w 347"/>
                <a:gd name="T11" fmla="*/ 195 h 1523"/>
                <a:gd name="T12" fmla="*/ 146 w 347"/>
                <a:gd name="T13" fmla="*/ 116 h 1523"/>
                <a:gd name="T14" fmla="*/ 146 w 347"/>
                <a:gd name="T15" fmla="*/ 1491 h 1523"/>
                <a:gd name="T16" fmla="*/ 175 w 347"/>
                <a:gd name="T17" fmla="*/ 1523 h 1523"/>
                <a:gd name="T18" fmla="*/ 205 w 347"/>
                <a:gd name="T19" fmla="*/ 1491 h 1523"/>
                <a:gd name="T20" fmla="*/ 205 w 347"/>
                <a:gd name="T21" fmla="*/ 115 h 1523"/>
                <a:gd name="T22" fmla="*/ 206 w 347"/>
                <a:gd name="T23" fmla="*/ 115 h 1523"/>
                <a:gd name="T24" fmla="*/ 285 w 347"/>
                <a:gd name="T25" fmla="*/ 195 h 1523"/>
                <a:gd name="T26" fmla="*/ 309 w 347"/>
                <a:gd name="T27" fmla="*/ 205 h 1523"/>
                <a:gd name="T28" fmla="*/ 334 w 347"/>
                <a:gd name="T29" fmla="*/ 195 h 1523"/>
                <a:gd name="T30" fmla="*/ 334 w 347"/>
                <a:gd name="T31" fmla="*/ 147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7" h="1523">
                  <a:moveTo>
                    <a:pt x="334" y="147"/>
                  </a:moveTo>
                  <a:cubicBezTo>
                    <a:pt x="201" y="13"/>
                    <a:pt x="201" y="13"/>
                    <a:pt x="201" y="13"/>
                  </a:cubicBezTo>
                  <a:cubicBezTo>
                    <a:pt x="187" y="0"/>
                    <a:pt x="166" y="0"/>
                    <a:pt x="152" y="13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0" y="158"/>
                    <a:pt x="0" y="180"/>
                    <a:pt x="13" y="194"/>
                  </a:cubicBezTo>
                  <a:cubicBezTo>
                    <a:pt x="26" y="208"/>
                    <a:pt x="48" y="208"/>
                    <a:pt x="61" y="195"/>
                  </a:cubicBezTo>
                  <a:cubicBezTo>
                    <a:pt x="146" y="116"/>
                    <a:pt x="146" y="116"/>
                    <a:pt x="146" y="116"/>
                  </a:cubicBezTo>
                  <a:cubicBezTo>
                    <a:pt x="146" y="1491"/>
                    <a:pt x="146" y="1491"/>
                    <a:pt x="146" y="1491"/>
                  </a:cubicBezTo>
                  <a:cubicBezTo>
                    <a:pt x="146" y="1509"/>
                    <a:pt x="158" y="1523"/>
                    <a:pt x="175" y="1523"/>
                  </a:cubicBezTo>
                  <a:cubicBezTo>
                    <a:pt x="194" y="1523"/>
                    <a:pt x="205" y="1509"/>
                    <a:pt x="205" y="1491"/>
                  </a:cubicBezTo>
                  <a:cubicBezTo>
                    <a:pt x="205" y="115"/>
                    <a:pt x="205" y="115"/>
                    <a:pt x="205" y="115"/>
                  </a:cubicBezTo>
                  <a:cubicBezTo>
                    <a:pt x="206" y="115"/>
                    <a:pt x="206" y="115"/>
                    <a:pt x="206" y="115"/>
                  </a:cubicBezTo>
                  <a:cubicBezTo>
                    <a:pt x="285" y="195"/>
                    <a:pt x="285" y="195"/>
                    <a:pt x="285" y="195"/>
                  </a:cubicBezTo>
                  <a:cubicBezTo>
                    <a:pt x="292" y="202"/>
                    <a:pt x="301" y="205"/>
                    <a:pt x="309" y="205"/>
                  </a:cubicBezTo>
                  <a:cubicBezTo>
                    <a:pt x="318" y="205"/>
                    <a:pt x="327" y="202"/>
                    <a:pt x="334" y="195"/>
                  </a:cubicBezTo>
                  <a:cubicBezTo>
                    <a:pt x="347" y="182"/>
                    <a:pt x="347" y="160"/>
                    <a:pt x="334" y="1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7" name="Line 27"/>
            <p:cNvSpPr>
              <a:spLocks noChangeShapeType="1"/>
            </p:cNvSpPr>
            <p:nvPr userDrawn="1"/>
          </p:nvSpPr>
          <p:spPr bwMode="auto">
            <a:xfrm>
              <a:off x="5251451" y="2743200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8" name="Line 28"/>
            <p:cNvSpPr>
              <a:spLocks noChangeShapeType="1"/>
            </p:cNvSpPr>
            <p:nvPr userDrawn="1"/>
          </p:nvSpPr>
          <p:spPr bwMode="auto">
            <a:xfrm>
              <a:off x="5251451" y="2743200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9" name="Freeform 29"/>
            <p:cNvSpPr>
              <a:spLocks noEditPoints="1"/>
            </p:cNvSpPr>
            <p:nvPr userDrawn="1"/>
          </p:nvSpPr>
          <p:spPr bwMode="auto">
            <a:xfrm>
              <a:off x="7123113" y="2574925"/>
              <a:ext cx="203200" cy="203200"/>
            </a:xfrm>
            <a:custGeom>
              <a:avLst/>
              <a:gdLst>
                <a:gd name="T0" fmla="*/ 20 w 162"/>
                <a:gd name="T1" fmla="*/ 82 h 162"/>
                <a:gd name="T2" fmla="*/ 82 w 162"/>
                <a:gd name="T3" fmla="*/ 144 h 162"/>
                <a:gd name="T4" fmla="*/ 142 w 162"/>
                <a:gd name="T5" fmla="*/ 81 h 162"/>
                <a:gd name="T6" fmla="*/ 82 w 162"/>
                <a:gd name="T7" fmla="*/ 18 h 162"/>
                <a:gd name="T8" fmla="*/ 20 w 162"/>
                <a:gd name="T9" fmla="*/ 82 h 162"/>
                <a:gd name="T10" fmla="*/ 162 w 162"/>
                <a:gd name="T11" fmla="*/ 82 h 162"/>
                <a:gd name="T12" fmla="*/ 82 w 162"/>
                <a:gd name="T13" fmla="*/ 162 h 162"/>
                <a:gd name="T14" fmla="*/ 0 w 162"/>
                <a:gd name="T15" fmla="*/ 82 h 162"/>
                <a:gd name="T16" fmla="*/ 82 w 162"/>
                <a:gd name="T17" fmla="*/ 0 h 162"/>
                <a:gd name="T18" fmla="*/ 162 w 162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62">
                  <a:moveTo>
                    <a:pt x="20" y="82"/>
                  </a:moveTo>
                  <a:cubicBezTo>
                    <a:pt x="20" y="117"/>
                    <a:pt x="48" y="144"/>
                    <a:pt x="82" y="144"/>
                  </a:cubicBezTo>
                  <a:cubicBezTo>
                    <a:pt x="115" y="144"/>
                    <a:pt x="142" y="116"/>
                    <a:pt x="142" y="81"/>
                  </a:cubicBezTo>
                  <a:cubicBezTo>
                    <a:pt x="142" y="46"/>
                    <a:pt x="114" y="18"/>
                    <a:pt x="82" y="18"/>
                  </a:cubicBezTo>
                  <a:cubicBezTo>
                    <a:pt x="47" y="18"/>
                    <a:pt x="20" y="47"/>
                    <a:pt x="20" y="82"/>
                  </a:cubicBezTo>
                  <a:moveTo>
                    <a:pt x="162" y="82"/>
                  </a:moveTo>
                  <a:cubicBezTo>
                    <a:pt x="162" y="125"/>
                    <a:pt x="124" y="162"/>
                    <a:pt x="82" y="162"/>
                  </a:cubicBezTo>
                  <a:cubicBezTo>
                    <a:pt x="37" y="162"/>
                    <a:pt x="0" y="126"/>
                    <a:pt x="0" y="82"/>
                  </a:cubicBezTo>
                  <a:cubicBezTo>
                    <a:pt x="0" y="37"/>
                    <a:pt x="36" y="0"/>
                    <a:pt x="82" y="0"/>
                  </a:cubicBezTo>
                  <a:cubicBezTo>
                    <a:pt x="125" y="0"/>
                    <a:pt x="162" y="37"/>
                    <a:pt x="162" y="82"/>
                  </a:cubicBezTo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50" name="Freeform 30"/>
            <p:cNvSpPr>
              <a:spLocks noEditPoints="1"/>
            </p:cNvSpPr>
            <p:nvPr userDrawn="1"/>
          </p:nvSpPr>
          <p:spPr bwMode="auto">
            <a:xfrm>
              <a:off x="7366001" y="2574925"/>
              <a:ext cx="201613" cy="203200"/>
            </a:xfrm>
            <a:custGeom>
              <a:avLst/>
              <a:gdLst>
                <a:gd name="T0" fmla="*/ 19 w 161"/>
                <a:gd name="T1" fmla="*/ 82 h 162"/>
                <a:gd name="T2" fmla="*/ 81 w 161"/>
                <a:gd name="T3" fmla="*/ 144 h 162"/>
                <a:gd name="T4" fmla="*/ 141 w 161"/>
                <a:gd name="T5" fmla="*/ 81 h 162"/>
                <a:gd name="T6" fmla="*/ 81 w 161"/>
                <a:gd name="T7" fmla="*/ 18 h 162"/>
                <a:gd name="T8" fmla="*/ 19 w 161"/>
                <a:gd name="T9" fmla="*/ 82 h 162"/>
                <a:gd name="T10" fmla="*/ 161 w 161"/>
                <a:gd name="T11" fmla="*/ 82 h 162"/>
                <a:gd name="T12" fmla="*/ 81 w 161"/>
                <a:gd name="T13" fmla="*/ 162 h 162"/>
                <a:gd name="T14" fmla="*/ 0 w 161"/>
                <a:gd name="T15" fmla="*/ 82 h 162"/>
                <a:gd name="T16" fmla="*/ 81 w 161"/>
                <a:gd name="T17" fmla="*/ 0 h 162"/>
                <a:gd name="T18" fmla="*/ 161 w 161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19" y="82"/>
                  </a:moveTo>
                  <a:cubicBezTo>
                    <a:pt x="19" y="117"/>
                    <a:pt x="47" y="144"/>
                    <a:pt x="81" y="144"/>
                  </a:cubicBezTo>
                  <a:cubicBezTo>
                    <a:pt x="115" y="144"/>
                    <a:pt x="141" y="116"/>
                    <a:pt x="141" y="81"/>
                  </a:cubicBezTo>
                  <a:cubicBezTo>
                    <a:pt x="141" y="46"/>
                    <a:pt x="114" y="18"/>
                    <a:pt x="81" y="18"/>
                  </a:cubicBezTo>
                  <a:cubicBezTo>
                    <a:pt x="47" y="18"/>
                    <a:pt x="19" y="47"/>
                    <a:pt x="19" y="82"/>
                  </a:cubicBezTo>
                  <a:moveTo>
                    <a:pt x="161" y="82"/>
                  </a:moveTo>
                  <a:cubicBezTo>
                    <a:pt x="161" y="125"/>
                    <a:pt x="124" y="162"/>
                    <a:pt x="81" y="162"/>
                  </a:cubicBezTo>
                  <a:cubicBezTo>
                    <a:pt x="36" y="162"/>
                    <a:pt x="0" y="126"/>
                    <a:pt x="0" y="82"/>
                  </a:cubicBezTo>
                  <a:cubicBezTo>
                    <a:pt x="0" y="37"/>
                    <a:pt x="36" y="0"/>
                    <a:pt x="81" y="0"/>
                  </a:cubicBezTo>
                  <a:cubicBezTo>
                    <a:pt x="125" y="0"/>
                    <a:pt x="161" y="37"/>
                    <a:pt x="161" y="8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51" name="Freeform 31"/>
            <p:cNvSpPr>
              <a:spLocks noEditPoints="1"/>
            </p:cNvSpPr>
            <p:nvPr userDrawn="1"/>
          </p:nvSpPr>
          <p:spPr bwMode="auto">
            <a:xfrm>
              <a:off x="7607301" y="2574925"/>
              <a:ext cx="201613" cy="203200"/>
            </a:xfrm>
            <a:custGeom>
              <a:avLst/>
              <a:gdLst>
                <a:gd name="T0" fmla="*/ 20 w 161"/>
                <a:gd name="T1" fmla="*/ 82 h 162"/>
                <a:gd name="T2" fmla="*/ 81 w 161"/>
                <a:gd name="T3" fmla="*/ 144 h 162"/>
                <a:gd name="T4" fmla="*/ 141 w 161"/>
                <a:gd name="T5" fmla="*/ 81 h 162"/>
                <a:gd name="T6" fmla="*/ 81 w 161"/>
                <a:gd name="T7" fmla="*/ 18 h 162"/>
                <a:gd name="T8" fmla="*/ 20 w 161"/>
                <a:gd name="T9" fmla="*/ 82 h 162"/>
                <a:gd name="T10" fmla="*/ 161 w 161"/>
                <a:gd name="T11" fmla="*/ 82 h 162"/>
                <a:gd name="T12" fmla="*/ 81 w 161"/>
                <a:gd name="T13" fmla="*/ 162 h 162"/>
                <a:gd name="T14" fmla="*/ 0 w 161"/>
                <a:gd name="T15" fmla="*/ 82 h 162"/>
                <a:gd name="T16" fmla="*/ 81 w 161"/>
                <a:gd name="T17" fmla="*/ 0 h 162"/>
                <a:gd name="T18" fmla="*/ 161 w 161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20" y="82"/>
                  </a:moveTo>
                  <a:cubicBezTo>
                    <a:pt x="20" y="117"/>
                    <a:pt x="47" y="144"/>
                    <a:pt x="81" y="144"/>
                  </a:cubicBezTo>
                  <a:cubicBezTo>
                    <a:pt x="115" y="144"/>
                    <a:pt x="141" y="116"/>
                    <a:pt x="141" y="81"/>
                  </a:cubicBezTo>
                  <a:cubicBezTo>
                    <a:pt x="141" y="46"/>
                    <a:pt x="114" y="18"/>
                    <a:pt x="81" y="18"/>
                  </a:cubicBezTo>
                  <a:cubicBezTo>
                    <a:pt x="47" y="18"/>
                    <a:pt x="20" y="47"/>
                    <a:pt x="20" y="82"/>
                  </a:cubicBezTo>
                  <a:moveTo>
                    <a:pt x="161" y="82"/>
                  </a:moveTo>
                  <a:cubicBezTo>
                    <a:pt x="161" y="125"/>
                    <a:pt x="124" y="162"/>
                    <a:pt x="81" y="162"/>
                  </a:cubicBezTo>
                  <a:cubicBezTo>
                    <a:pt x="37" y="162"/>
                    <a:pt x="0" y="126"/>
                    <a:pt x="0" y="82"/>
                  </a:cubicBezTo>
                  <a:cubicBezTo>
                    <a:pt x="0" y="37"/>
                    <a:pt x="36" y="0"/>
                    <a:pt x="81" y="0"/>
                  </a:cubicBezTo>
                  <a:cubicBezTo>
                    <a:pt x="125" y="0"/>
                    <a:pt x="161" y="37"/>
                    <a:pt x="161" y="82"/>
                  </a:cubicBezTo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52" name="Freeform 32"/>
            <p:cNvSpPr>
              <a:spLocks/>
            </p:cNvSpPr>
            <p:nvPr userDrawn="1"/>
          </p:nvSpPr>
          <p:spPr bwMode="auto">
            <a:xfrm>
              <a:off x="3240088" y="3122613"/>
              <a:ext cx="190500" cy="254000"/>
            </a:xfrm>
            <a:custGeom>
              <a:avLst/>
              <a:gdLst>
                <a:gd name="T0" fmla="*/ 152 w 152"/>
                <a:gd name="T1" fmla="*/ 76 h 203"/>
                <a:gd name="T2" fmla="*/ 76 w 152"/>
                <a:gd name="T3" fmla="*/ 153 h 203"/>
                <a:gd name="T4" fmla="*/ 30 w 152"/>
                <a:gd name="T5" fmla="*/ 137 h 203"/>
                <a:gd name="T6" fmla="*/ 30 w 152"/>
                <a:gd name="T7" fmla="*/ 112 h 203"/>
                <a:gd name="T8" fmla="*/ 76 w 152"/>
                <a:gd name="T9" fmla="*/ 134 h 203"/>
                <a:gd name="T10" fmla="*/ 133 w 152"/>
                <a:gd name="T11" fmla="*/ 76 h 203"/>
                <a:gd name="T12" fmla="*/ 76 w 152"/>
                <a:gd name="T13" fmla="*/ 19 h 203"/>
                <a:gd name="T14" fmla="*/ 18 w 152"/>
                <a:gd name="T15" fmla="*/ 77 h 203"/>
                <a:gd name="T16" fmla="*/ 18 w 152"/>
                <a:gd name="T17" fmla="*/ 194 h 203"/>
                <a:gd name="T18" fmla="*/ 9 w 152"/>
                <a:gd name="T19" fmla="*/ 203 h 203"/>
                <a:gd name="T20" fmla="*/ 0 w 152"/>
                <a:gd name="T21" fmla="*/ 194 h 203"/>
                <a:gd name="T22" fmla="*/ 0 w 152"/>
                <a:gd name="T23" fmla="*/ 76 h 203"/>
                <a:gd name="T24" fmla="*/ 76 w 152"/>
                <a:gd name="T25" fmla="*/ 0 h 203"/>
                <a:gd name="T26" fmla="*/ 152 w 152"/>
                <a:gd name="T27" fmla="*/ 76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2" h="203">
                  <a:moveTo>
                    <a:pt x="152" y="76"/>
                  </a:moveTo>
                  <a:cubicBezTo>
                    <a:pt x="152" y="119"/>
                    <a:pt x="118" y="153"/>
                    <a:pt x="76" y="153"/>
                  </a:cubicBezTo>
                  <a:cubicBezTo>
                    <a:pt x="59" y="153"/>
                    <a:pt x="43" y="147"/>
                    <a:pt x="30" y="137"/>
                  </a:cubicBezTo>
                  <a:cubicBezTo>
                    <a:pt x="30" y="112"/>
                    <a:pt x="30" y="112"/>
                    <a:pt x="30" y="112"/>
                  </a:cubicBezTo>
                  <a:cubicBezTo>
                    <a:pt x="42" y="126"/>
                    <a:pt x="58" y="134"/>
                    <a:pt x="76" y="134"/>
                  </a:cubicBezTo>
                  <a:cubicBezTo>
                    <a:pt x="108" y="134"/>
                    <a:pt x="133" y="108"/>
                    <a:pt x="133" y="76"/>
                  </a:cubicBezTo>
                  <a:cubicBezTo>
                    <a:pt x="133" y="45"/>
                    <a:pt x="107" y="19"/>
                    <a:pt x="76" y="19"/>
                  </a:cubicBezTo>
                  <a:cubicBezTo>
                    <a:pt x="44" y="19"/>
                    <a:pt x="18" y="45"/>
                    <a:pt x="18" y="77"/>
                  </a:cubicBezTo>
                  <a:cubicBezTo>
                    <a:pt x="18" y="194"/>
                    <a:pt x="18" y="194"/>
                    <a:pt x="18" y="194"/>
                  </a:cubicBezTo>
                  <a:cubicBezTo>
                    <a:pt x="18" y="199"/>
                    <a:pt x="14" y="203"/>
                    <a:pt x="9" y="203"/>
                  </a:cubicBezTo>
                  <a:cubicBezTo>
                    <a:pt x="4" y="203"/>
                    <a:pt x="0" y="199"/>
                    <a:pt x="0" y="194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34"/>
                    <a:pt x="34" y="0"/>
                    <a:pt x="76" y="0"/>
                  </a:cubicBezTo>
                  <a:cubicBezTo>
                    <a:pt x="118" y="0"/>
                    <a:pt x="152" y="34"/>
                    <a:pt x="152" y="76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53" name="Freeform 33"/>
            <p:cNvSpPr>
              <a:spLocks/>
            </p:cNvSpPr>
            <p:nvPr userDrawn="1"/>
          </p:nvSpPr>
          <p:spPr bwMode="auto">
            <a:xfrm>
              <a:off x="3448051" y="3122613"/>
              <a:ext cx="188913" cy="192088"/>
            </a:xfrm>
            <a:custGeom>
              <a:avLst/>
              <a:gdLst>
                <a:gd name="T0" fmla="*/ 44 w 150"/>
                <a:gd name="T1" fmla="*/ 65 h 153"/>
                <a:gd name="T2" fmla="*/ 130 w 150"/>
                <a:gd name="T3" fmla="*/ 65 h 153"/>
                <a:gd name="T4" fmla="*/ 75 w 150"/>
                <a:gd name="T5" fmla="*/ 18 h 153"/>
                <a:gd name="T6" fmla="*/ 19 w 150"/>
                <a:gd name="T7" fmla="*/ 75 h 153"/>
                <a:gd name="T8" fmla="*/ 75 w 150"/>
                <a:gd name="T9" fmla="*/ 134 h 153"/>
                <a:gd name="T10" fmla="*/ 125 w 150"/>
                <a:gd name="T11" fmla="*/ 106 h 153"/>
                <a:gd name="T12" fmla="*/ 134 w 150"/>
                <a:gd name="T13" fmla="*/ 101 h 153"/>
                <a:gd name="T14" fmla="*/ 143 w 150"/>
                <a:gd name="T15" fmla="*/ 110 h 153"/>
                <a:gd name="T16" fmla="*/ 141 w 150"/>
                <a:gd name="T17" fmla="*/ 117 h 153"/>
                <a:gd name="T18" fmla="*/ 141 w 150"/>
                <a:gd name="T19" fmla="*/ 117 h 153"/>
                <a:gd name="T20" fmla="*/ 75 w 150"/>
                <a:gd name="T21" fmla="*/ 153 h 153"/>
                <a:gd name="T22" fmla="*/ 0 w 150"/>
                <a:gd name="T23" fmla="*/ 77 h 153"/>
                <a:gd name="T24" fmla="*/ 75 w 150"/>
                <a:gd name="T25" fmla="*/ 0 h 153"/>
                <a:gd name="T26" fmla="*/ 150 w 150"/>
                <a:gd name="T27" fmla="*/ 75 h 153"/>
                <a:gd name="T28" fmla="*/ 141 w 150"/>
                <a:gd name="T29" fmla="*/ 84 h 153"/>
                <a:gd name="T30" fmla="*/ 44 w 150"/>
                <a:gd name="T31" fmla="*/ 84 h 153"/>
                <a:gd name="T32" fmla="*/ 35 w 150"/>
                <a:gd name="T33" fmla="*/ 75 h 153"/>
                <a:gd name="T34" fmla="*/ 44 w 150"/>
                <a:gd name="T35" fmla="*/ 65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0" h="153">
                  <a:moveTo>
                    <a:pt x="44" y="65"/>
                  </a:moveTo>
                  <a:cubicBezTo>
                    <a:pt x="130" y="65"/>
                    <a:pt x="130" y="65"/>
                    <a:pt x="130" y="65"/>
                  </a:cubicBezTo>
                  <a:cubicBezTo>
                    <a:pt x="125" y="37"/>
                    <a:pt x="102" y="18"/>
                    <a:pt x="75" y="18"/>
                  </a:cubicBezTo>
                  <a:cubicBezTo>
                    <a:pt x="46" y="18"/>
                    <a:pt x="19" y="43"/>
                    <a:pt x="19" y="75"/>
                  </a:cubicBezTo>
                  <a:cubicBezTo>
                    <a:pt x="19" y="106"/>
                    <a:pt x="41" y="133"/>
                    <a:pt x="75" y="134"/>
                  </a:cubicBezTo>
                  <a:cubicBezTo>
                    <a:pt x="94" y="135"/>
                    <a:pt x="114" y="124"/>
                    <a:pt x="125" y="106"/>
                  </a:cubicBezTo>
                  <a:cubicBezTo>
                    <a:pt x="126" y="103"/>
                    <a:pt x="130" y="101"/>
                    <a:pt x="134" y="101"/>
                  </a:cubicBezTo>
                  <a:cubicBezTo>
                    <a:pt x="140" y="101"/>
                    <a:pt x="143" y="105"/>
                    <a:pt x="143" y="110"/>
                  </a:cubicBezTo>
                  <a:cubicBezTo>
                    <a:pt x="143" y="112"/>
                    <a:pt x="142" y="115"/>
                    <a:pt x="141" y="117"/>
                  </a:cubicBezTo>
                  <a:cubicBezTo>
                    <a:pt x="141" y="117"/>
                    <a:pt x="141" y="117"/>
                    <a:pt x="141" y="117"/>
                  </a:cubicBezTo>
                  <a:cubicBezTo>
                    <a:pt x="128" y="139"/>
                    <a:pt x="103" y="153"/>
                    <a:pt x="75" y="153"/>
                  </a:cubicBezTo>
                  <a:cubicBezTo>
                    <a:pt x="32" y="151"/>
                    <a:pt x="0" y="119"/>
                    <a:pt x="0" y="77"/>
                  </a:cubicBezTo>
                  <a:cubicBezTo>
                    <a:pt x="0" y="34"/>
                    <a:pt x="32" y="0"/>
                    <a:pt x="75" y="0"/>
                  </a:cubicBezTo>
                  <a:cubicBezTo>
                    <a:pt x="114" y="0"/>
                    <a:pt x="150" y="30"/>
                    <a:pt x="150" y="75"/>
                  </a:cubicBezTo>
                  <a:cubicBezTo>
                    <a:pt x="150" y="80"/>
                    <a:pt x="146" y="84"/>
                    <a:pt x="141" y="84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39" y="84"/>
                    <a:pt x="35" y="80"/>
                    <a:pt x="35" y="75"/>
                  </a:cubicBezTo>
                  <a:cubicBezTo>
                    <a:pt x="35" y="70"/>
                    <a:pt x="39" y="65"/>
                    <a:pt x="44" y="65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54" name="Freeform 34"/>
            <p:cNvSpPr>
              <a:spLocks/>
            </p:cNvSpPr>
            <p:nvPr userDrawn="1"/>
          </p:nvSpPr>
          <p:spPr bwMode="auto">
            <a:xfrm>
              <a:off x="3659188" y="3122613"/>
              <a:ext cx="190500" cy="254000"/>
            </a:xfrm>
            <a:custGeom>
              <a:avLst/>
              <a:gdLst>
                <a:gd name="T0" fmla="*/ 152 w 152"/>
                <a:gd name="T1" fmla="*/ 76 h 203"/>
                <a:gd name="T2" fmla="*/ 76 w 152"/>
                <a:gd name="T3" fmla="*/ 153 h 203"/>
                <a:gd name="T4" fmla="*/ 31 w 152"/>
                <a:gd name="T5" fmla="*/ 137 h 203"/>
                <a:gd name="T6" fmla="*/ 31 w 152"/>
                <a:gd name="T7" fmla="*/ 112 h 203"/>
                <a:gd name="T8" fmla="*/ 76 w 152"/>
                <a:gd name="T9" fmla="*/ 134 h 203"/>
                <a:gd name="T10" fmla="*/ 134 w 152"/>
                <a:gd name="T11" fmla="*/ 76 h 203"/>
                <a:gd name="T12" fmla="*/ 76 w 152"/>
                <a:gd name="T13" fmla="*/ 19 h 203"/>
                <a:gd name="T14" fmla="*/ 19 w 152"/>
                <a:gd name="T15" fmla="*/ 77 h 203"/>
                <a:gd name="T16" fmla="*/ 19 w 152"/>
                <a:gd name="T17" fmla="*/ 194 h 203"/>
                <a:gd name="T18" fmla="*/ 10 w 152"/>
                <a:gd name="T19" fmla="*/ 203 h 203"/>
                <a:gd name="T20" fmla="*/ 0 w 152"/>
                <a:gd name="T21" fmla="*/ 194 h 203"/>
                <a:gd name="T22" fmla="*/ 0 w 152"/>
                <a:gd name="T23" fmla="*/ 76 h 203"/>
                <a:gd name="T24" fmla="*/ 76 w 152"/>
                <a:gd name="T25" fmla="*/ 0 h 203"/>
                <a:gd name="T26" fmla="*/ 152 w 152"/>
                <a:gd name="T27" fmla="*/ 76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2" h="203">
                  <a:moveTo>
                    <a:pt x="152" y="76"/>
                  </a:moveTo>
                  <a:cubicBezTo>
                    <a:pt x="152" y="119"/>
                    <a:pt x="119" y="153"/>
                    <a:pt x="76" y="153"/>
                  </a:cubicBezTo>
                  <a:cubicBezTo>
                    <a:pt x="59" y="153"/>
                    <a:pt x="44" y="147"/>
                    <a:pt x="31" y="137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42" y="126"/>
                    <a:pt x="58" y="134"/>
                    <a:pt x="76" y="134"/>
                  </a:cubicBezTo>
                  <a:cubicBezTo>
                    <a:pt x="109" y="134"/>
                    <a:pt x="134" y="108"/>
                    <a:pt x="134" y="76"/>
                  </a:cubicBezTo>
                  <a:cubicBezTo>
                    <a:pt x="134" y="45"/>
                    <a:pt x="108" y="19"/>
                    <a:pt x="76" y="19"/>
                  </a:cubicBezTo>
                  <a:cubicBezTo>
                    <a:pt x="45" y="19"/>
                    <a:pt x="19" y="45"/>
                    <a:pt x="19" y="77"/>
                  </a:cubicBezTo>
                  <a:cubicBezTo>
                    <a:pt x="19" y="194"/>
                    <a:pt x="19" y="194"/>
                    <a:pt x="19" y="194"/>
                  </a:cubicBezTo>
                  <a:cubicBezTo>
                    <a:pt x="19" y="199"/>
                    <a:pt x="15" y="203"/>
                    <a:pt x="10" y="203"/>
                  </a:cubicBezTo>
                  <a:cubicBezTo>
                    <a:pt x="5" y="203"/>
                    <a:pt x="0" y="199"/>
                    <a:pt x="0" y="194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34"/>
                    <a:pt x="34" y="0"/>
                    <a:pt x="76" y="0"/>
                  </a:cubicBezTo>
                  <a:cubicBezTo>
                    <a:pt x="118" y="0"/>
                    <a:pt x="152" y="34"/>
                    <a:pt x="152" y="76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57" name="Freeform 35"/>
            <p:cNvSpPr>
              <a:spLocks/>
            </p:cNvSpPr>
            <p:nvPr userDrawn="1"/>
          </p:nvSpPr>
          <p:spPr bwMode="auto">
            <a:xfrm>
              <a:off x="3865563" y="3122613"/>
              <a:ext cx="114300" cy="192088"/>
            </a:xfrm>
            <a:custGeom>
              <a:avLst/>
              <a:gdLst>
                <a:gd name="T0" fmla="*/ 78 w 92"/>
                <a:gd name="T1" fmla="*/ 38 h 153"/>
                <a:gd name="T2" fmla="*/ 67 w 92"/>
                <a:gd name="T3" fmla="*/ 31 h 153"/>
                <a:gd name="T4" fmla="*/ 45 w 92"/>
                <a:gd name="T5" fmla="*/ 18 h 153"/>
                <a:gd name="T6" fmla="*/ 24 w 92"/>
                <a:gd name="T7" fmla="*/ 39 h 153"/>
                <a:gd name="T8" fmla="*/ 49 w 92"/>
                <a:gd name="T9" fmla="*/ 63 h 153"/>
                <a:gd name="T10" fmla="*/ 75 w 92"/>
                <a:gd name="T11" fmla="*/ 75 h 153"/>
                <a:gd name="T12" fmla="*/ 92 w 92"/>
                <a:gd name="T13" fmla="*/ 107 h 153"/>
                <a:gd name="T14" fmla="*/ 46 w 92"/>
                <a:gd name="T15" fmla="*/ 153 h 153"/>
                <a:gd name="T16" fmla="*/ 0 w 92"/>
                <a:gd name="T17" fmla="*/ 114 h 153"/>
                <a:gd name="T18" fmla="*/ 0 w 92"/>
                <a:gd name="T19" fmla="*/ 111 h 153"/>
                <a:gd name="T20" fmla="*/ 9 w 92"/>
                <a:gd name="T21" fmla="*/ 101 h 153"/>
                <a:gd name="T22" fmla="*/ 19 w 92"/>
                <a:gd name="T23" fmla="*/ 111 h 153"/>
                <a:gd name="T24" fmla="*/ 46 w 92"/>
                <a:gd name="T25" fmla="*/ 135 h 153"/>
                <a:gd name="T26" fmla="*/ 72 w 92"/>
                <a:gd name="T27" fmla="*/ 110 h 153"/>
                <a:gd name="T28" fmla="*/ 43 w 92"/>
                <a:gd name="T29" fmla="*/ 81 h 153"/>
                <a:gd name="T30" fmla="*/ 4 w 92"/>
                <a:gd name="T31" fmla="*/ 40 h 153"/>
                <a:gd name="T32" fmla="*/ 46 w 92"/>
                <a:gd name="T33" fmla="*/ 0 h 153"/>
                <a:gd name="T34" fmla="*/ 85 w 92"/>
                <a:gd name="T35" fmla="*/ 28 h 153"/>
                <a:gd name="T36" fmla="*/ 78 w 92"/>
                <a:gd name="T37" fmla="*/ 3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2" h="153">
                  <a:moveTo>
                    <a:pt x="78" y="38"/>
                  </a:moveTo>
                  <a:cubicBezTo>
                    <a:pt x="73" y="39"/>
                    <a:pt x="69" y="36"/>
                    <a:pt x="67" y="31"/>
                  </a:cubicBezTo>
                  <a:cubicBezTo>
                    <a:pt x="63" y="22"/>
                    <a:pt x="55" y="18"/>
                    <a:pt x="45" y="18"/>
                  </a:cubicBezTo>
                  <a:cubicBezTo>
                    <a:pt x="33" y="18"/>
                    <a:pt x="24" y="28"/>
                    <a:pt x="24" y="39"/>
                  </a:cubicBezTo>
                  <a:cubicBezTo>
                    <a:pt x="24" y="50"/>
                    <a:pt x="30" y="56"/>
                    <a:pt x="49" y="63"/>
                  </a:cubicBezTo>
                  <a:cubicBezTo>
                    <a:pt x="58" y="66"/>
                    <a:pt x="68" y="70"/>
                    <a:pt x="75" y="75"/>
                  </a:cubicBezTo>
                  <a:cubicBezTo>
                    <a:pt x="86" y="83"/>
                    <a:pt x="92" y="94"/>
                    <a:pt x="92" y="107"/>
                  </a:cubicBezTo>
                  <a:cubicBezTo>
                    <a:pt x="92" y="135"/>
                    <a:pt x="73" y="153"/>
                    <a:pt x="46" y="153"/>
                  </a:cubicBezTo>
                  <a:cubicBezTo>
                    <a:pt x="21" y="153"/>
                    <a:pt x="6" y="137"/>
                    <a:pt x="0" y="114"/>
                  </a:cubicBezTo>
                  <a:cubicBezTo>
                    <a:pt x="0" y="113"/>
                    <a:pt x="0" y="112"/>
                    <a:pt x="0" y="111"/>
                  </a:cubicBezTo>
                  <a:cubicBezTo>
                    <a:pt x="0" y="105"/>
                    <a:pt x="4" y="101"/>
                    <a:pt x="9" y="101"/>
                  </a:cubicBezTo>
                  <a:cubicBezTo>
                    <a:pt x="15" y="101"/>
                    <a:pt x="18" y="105"/>
                    <a:pt x="19" y="111"/>
                  </a:cubicBezTo>
                  <a:cubicBezTo>
                    <a:pt x="22" y="125"/>
                    <a:pt x="33" y="135"/>
                    <a:pt x="46" y="135"/>
                  </a:cubicBezTo>
                  <a:cubicBezTo>
                    <a:pt x="60" y="135"/>
                    <a:pt x="72" y="124"/>
                    <a:pt x="72" y="110"/>
                  </a:cubicBezTo>
                  <a:cubicBezTo>
                    <a:pt x="72" y="97"/>
                    <a:pt x="64" y="88"/>
                    <a:pt x="43" y="81"/>
                  </a:cubicBezTo>
                  <a:cubicBezTo>
                    <a:pt x="14" y="71"/>
                    <a:pt x="4" y="60"/>
                    <a:pt x="4" y="40"/>
                  </a:cubicBezTo>
                  <a:cubicBezTo>
                    <a:pt x="4" y="17"/>
                    <a:pt x="22" y="0"/>
                    <a:pt x="46" y="0"/>
                  </a:cubicBezTo>
                  <a:cubicBezTo>
                    <a:pt x="68" y="0"/>
                    <a:pt x="85" y="15"/>
                    <a:pt x="85" y="28"/>
                  </a:cubicBezTo>
                  <a:cubicBezTo>
                    <a:pt x="85" y="32"/>
                    <a:pt x="83" y="37"/>
                    <a:pt x="78" y="38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58" name="Freeform 36"/>
            <p:cNvSpPr>
              <a:spLocks noEditPoints="1"/>
            </p:cNvSpPr>
            <p:nvPr userDrawn="1"/>
          </p:nvSpPr>
          <p:spPr bwMode="auto">
            <a:xfrm>
              <a:off x="3997326" y="3073400"/>
              <a:ext cx="33338" cy="239713"/>
            </a:xfrm>
            <a:custGeom>
              <a:avLst/>
              <a:gdLst>
                <a:gd name="T0" fmla="*/ 13 w 26"/>
                <a:gd name="T1" fmla="*/ 0 h 192"/>
                <a:gd name="T2" fmla="*/ 26 w 26"/>
                <a:gd name="T3" fmla="*/ 13 h 192"/>
                <a:gd name="T4" fmla="*/ 13 w 26"/>
                <a:gd name="T5" fmla="*/ 26 h 192"/>
                <a:gd name="T6" fmla="*/ 0 w 26"/>
                <a:gd name="T7" fmla="*/ 13 h 192"/>
                <a:gd name="T8" fmla="*/ 13 w 26"/>
                <a:gd name="T9" fmla="*/ 0 h 192"/>
                <a:gd name="T10" fmla="*/ 22 w 26"/>
                <a:gd name="T11" fmla="*/ 183 h 192"/>
                <a:gd name="T12" fmla="*/ 13 w 26"/>
                <a:gd name="T13" fmla="*/ 192 h 192"/>
                <a:gd name="T14" fmla="*/ 3 w 26"/>
                <a:gd name="T15" fmla="*/ 183 h 192"/>
                <a:gd name="T16" fmla="*/ 3 w 26"/>
                <a:gd name="T17" fmla="*/ 44 h 192"/>
                <a:gd name="T18" fmla="*/ 22 w 26"/>
                <a:gd name="T19" fmla="*/ 44 h 192"/>
                <a:gd name="T20" fmla="*/ 22 w 26"/>
                <a:gd name="T21" fmla="*/ 18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92">
                  <a:moveTo>
                    <a:pt x="13" y="0"/>
                  </a:moveTo>
                  <a:cubicBezTo>
                    <a:pt x="20" y="0"/>
                    <a:pt x="26" y="6"/>
                    <a:pt x="26" y="13"/>
                  </a:cubicBezTo>
                  <a:cubicBezTo>
                    <a:pt x="26" y="20"/>
                    <a:pt x="20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  <a:moveTo>
                    <a:pt x="22" y="183"/>
                  </a:moveTo>
                  <a:cubicBezTo>
                    <a:pt x="22" y="188"/>
                    <a:pt x="18" y="192"/>
                    <a:pt x="13" y="192"/>
                  </a:cubicBezTo>
                  <a:cubicBezTo>
                    <a:pt x="8" y="192"/>
                    <a:pt x="3" y="187"/>
                    <a:pt x="3" y="183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22" y="44"/>
                    <a:pt x="22" y="44"/>
                    <a:pt x="22" y="44"/>
                  </a:cubicBezTo>
                  <a:lnTo>
                    <a:pt x="22" y="183"/>
                  </a:ln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59" name="Freeform 37"/>
            <p:cNvSpPr>
              <a:spLocks/>
            </p:cNvSpPr>
            <p:nvPr userDrawn="1"/>
          </p:nvSpPr>
          <p:spPr bwMode="auto">
            <a:xfrm>
              <a:off x="4051301" y="3122613"/>
              <a:ext cx="180975" cy="192088"/>
            </a:xfrm>
            <a:custGeom>
              <a:avLst/>
              <a:gdLst>
                <a:gd name="T0" fmla="*/ 145 w 145"/>
                <a:gd name="T1" fmla="*/ 110 h 153"/>
                <a:gd name="T2" fmla="*/ 143 w 145"/>
                <a:gd name="T3" fmla="*/ 116 h 153"/>
                <a:gd name="T4" fmla="*/ 78 w 145"/>
                <a:gd name="T5" fmla="*/ 153 h 153"/>
                <a:gd name="T6" fmla="*/ 0 w 145"/>
                <a:gd name="T7" fmla="*/ 76 h 153"/>
                <a:gd name="T8" fmla="*/ 78 w 145"/>
                <a:gd name="T9" fmla="*/ 0 h 153"/>
                <a:gd name="T10" fmla="*/ 143 w 145"/>
                <a:gd name="T11" fmla="*/ 36 h 153"/>
                <a:gd name="T12" fmla="*/ 145 w 145"/>
                <a:gd name="T13" fmla="*/ 42 h 153"/>
                <a:gd name="T14" fmla="*/ 135 w 145"/>
                <a:gd name="T15" fmla="*/ 53 h 153"/>
                <a:gd name="T16" fmla="*/ 125 w 145"/>
                <a:gd name="T17" fmla="*/ 47 h 153"/>
                <a:gd name="T18" fmla="*/ 77 w 145"/>
                <a:gd name="T19" fmla="*/ 18 h 153"/>
                <a:gd name="T20" fmla="*/ 19 w 145"/>
                <a:gd name="T21" fmla="*/ 76 h 153"/>
                <a:gd name="T22" fmla="*/ 77 w 145"/>
                <a:gd name="T23" fmla="*/ 135 h 153"/>
                <a:gd name="T24" fmla="*/ 125 w 145"/>
                <a:gd name="T25" fmla="*/ 105 h 153"/>
                <a:gd name="T26" fmla="*/ 135 w 145"/>
                <a:gd name="T27" fmla="*/ 100 h 153"/>
                <a:gd name="T28" fmla="*/ 145 w 145"/>
                <a:gd name="T29" fmla="*/ 11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5" h="153">
                  <a:moveTo>
                    <a:pt x="145" y="110"/>
                  </a:moveTo>
                  <a:cubicBezTo>
                    <a:pt x="145" y="112"/>
                    <a:pt x="144" y="115"/>
                    <a:pt x="143" y="116"/>
                  </a:cubicBezTo>
                  <a:cubicBezTo>
                    <a:pt x="128" y="139"/>
                    <a:pt x="106" y="153"/>
                    <a:pt x="78" y="153"/>
                  </a:cubicBezTo>
                  <a:cubicBezTo>
                    <a:pt x="33" y="153"/>
                    <a:pt x="0" y="119"/>
                    <a:pt x="0" y="76"/>
                  </a:cubicBezTo>
                  <a:cubicBezTo>
                    <a:pt x="0" y="34"/>
                    <a:pt x="34" y="0"/>
                    <a:pt x="78" y="0"/>
                  </a:cubicBezTo>
                  <a:cubicBezTo>
                    <a:pt x="105" y="0"/>
                    <a:pt x="129" y="14"/>
                    <a:pt x="143" y="36"/>
                  </a:cubicBezTo>
                  <a:cubicBezTo>
                    <a:pt x="144" y="38"/>
                    <a:pt x="145" y="40"/>
                    <a:pt x="145" y="42"/>
                  </a:cubicBezTo>
                  <a:cubicBezTo>
                    <a:pt x="145" y="48"/>
                    <a:pt x="141" y="53"/>
                    <a:pt x="135" y="53"/>
                  </a:cubicBezTo>
                  <a:cubicBezTo>
                    <a:pt x="131" y="53"/>
                    <a:pt x="127" y="51"/>
                    <a:pt x="125" y="47"/>
                  </a:cubicBezTo>
                  <a:cubicBezTo>
                    <a:pt x="114" y="29"/>
                    <a:pt x="97" y="18"/>
                    <a:pt x="77" y="18"/>
                  </a:cubicBezTo>
                  <a:cubicBezTo>
                    <a:pt x="45" y="18"/>
                    <a:pt x="19" y="44"/>
                    <a:pt x="19" y="76"/>
                  </a:cubicBezTo>
                  <a:cubicBezTo>
                    <a:pt x="19" y="109"/>
                    <a:pt x="45" y="135"/>
                    <a:pt x="77" y="135"/>
                  </a:cubicBezTo>
                  <a:cubicBezTo>
                    <a:pt x="96" y="135"/>
                    <a:pt x="115" y="122"/>
                    <a:pt x="125" y="105"/>
                  </a:cubicBezTo>
                  <a:cubicBezTo>
                    <a:pt x="127" y="102"/>
                    <a:pt x="131" y="100"/>
                    <a:pt x="135" y="100"/>
                  </a:cubicBezTo>
                  <a:cubicBezTo>
                    <a:pt x="141" y="100"/>
                    <a:pt x="145" y="104"/>
                    <a:pt x="145" y="110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60" name="Freeform 38"/>
            <p:cNvSpPr>
              <a:spLocks noEditPoints="1"/>
            </p:cNvSpPr>
            <p:nvPr userDrawn="1"/>
          </p:nvSpPr>
          <p:spPr bwMode="auto">
            <a:xfrm>
              <a:off x="4248151" y="3122613"/>
              <a:ext cx="190500" cy="192088"/>
            </a:xfrm>
            <a:custGeom>
              <a:avLst/>
              <a:gdLst>
                <a:gd name="T0" fmla="*/ 76 w 152"/>
                <a:gd name="T1" fmla="*/ 0 h 153"/>
                <a:gd name="T2" fmla="*/ 152 w 152"/>
                <a:gd name="T3" fmla="*/ 76 h 153"/>
                <a:gd name="T4" fmla="*/ 76 w 152"/>
                <a:gd name="T5" fmla="*/ 153 h 153"/>
                <a:gd name="T6" fmla="*/ 0 w 152"/>
                <a:gd name="T7" fmla="*/ 76 h 153"/>
                <a:gd name="T8" fmla="*/ 76 w 152"/>
                <a:gd name="T9" fmla="*/ 0 h 153"/>
                <a:gd name="T10" fmla="*/ 76 w 152"/>
                <a:gd name="T11" fmla="*/ 134 h 153"/>
                <a:gd name="T12" fmla="*/ 133 w 152"/>
                <a:gd name="T13" fmla="*/ 76 h 153"/>
                <a:gd name="T14" fmla="*/ 76 w 152"/>
                <a:gd name="T15" fmla="*/ 18 h 153"/>
                <a:gd name="T16" fmla="*/ 18 w 152"/>
                <a:gd name="T17" fmla="*/ 76 h 153"/>
                <a:gd name="T18" fmla="*/ 76 w 152"/>
                <a:gd name="T19" fmla="*/ 134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2" h="153">
                  <a:moveTo>
                    <a:pt x="76" y="0"/>
                  </a:moveTo>
                  <a:cubicBezTo>
                    <a:pt x="118" y="0"/>
                    <a:pt x="152" y="34"/>
                    <a:pt x="152" y="76"/>
                  </a:cubicBezTo>
                  <a:cubicBezTo>
                    <a:pt x="152" y="119"/>
                    <a:pt x="118" y="153"/>
                    <a:pt x="76" y="153"/>
                  </a:cubicBezTo>
                  <a:cubicBezTo>
                    <a:pt x="33" y="153"/>
                    <a:pt x="0" y="119"/>
                    <a:pt x="0" y="76"/>
                  </a:cubicBezTo>
                  <a:cubicBezTo>
                    <a:pt x="0" y="34"/>
                    <a:pt x="33" y="0"/>
                    <a:pt x="76" y="0"/>
                  </a:cubicBezTo>
                  <a:close/>
                  <a:moveTo>
                    <a:pt x="76" y="134"/>
                  </a:moveTo>
                  <a:cubicBezTo>
                    <a:pt x="108" y="134"/>
                    <a:pt x="133" y="109"/>
                    <a:pt x="133" y="76"/>
                  </a:cubicBezTo>
                  <a:cubicBezTo>
                    <a:pt x="133" y="44"/>
                    <a:pt x="108" y="18"/>
                    <a:pt x="76" y="18"/>
                  </a:cubicBezTo>
                  <a:cubicBezTo>
                    <a:pt x="44" y="18"/>
                    <a:pt x="18" y="44"/>
                    <a:pt x="18" y="76"/>
                  </a:cubicBezTo>
                  <a:cubicBezTo>
                    <a:pt x="18" y="109"/>
                    <a:pt x="44" y="134"/>
                    <a:pt x="76" y="134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61" name="Oval 39"/>
            <p:cNvSpPr>
              <a:spLocks noChangeArrowheads="1"/>
            </p:cNvSpPr>
            <p:nvPr userDrawn="1"/>
          </p:nvSpPr>
          <p:spPr bwMode="auto">
            <a:xfrm>
              <a:off x="4462463" y="3278188"/>
              <a:ext cx="34925" cy="33338"/>
            </a:xfrm>
            <a:prstGeom prst="ellipse">
              <a:avLst/>
            </a:pr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62" name="Freeform 40"/>
            <p:cNvSpPr>
              <a:spLocks/>
            </p:cNvSpPr>
            <p:nvPr userDrawn="1"/>
          </p:nvSpPr>
          <p:spPr bwMode="auto">
            <a:xfrm>
              <a:off x="4521201" y="3122613"/>
              <a:ext cx="180975" cy="192088"/>
            </a:xfrm>
            <a:custGeom>
              <a:avLst/>
              <a:gdLst>
                <a:gd name="T0" fmla="*/ 145 w 145"/>
                <a:gd name="T1" fmla="*/ 110 h 153"/>
                <a:gd name="T2" fmla="*/ 143 w 145"/>
                <a:gd name="T3" fmla="*/ 116 h 153"/>
                <a:gd name="T4" fmla="*/ 78 w 145"/>
                <a:gd name="T5" fmla="*/ 153 h 153"/>
                <a:gd name="T6" fmla="*/ 0 w 145"/>
                <a:gd name="T7" fmla="*/ 76 h 153"/>
                <a:gd name="T8" fmla="*/ 78 w 145"/>
                <a:gd name="T9" fmla="*/ 0 h 153"/>
                <a:gd name="T10" fmla="*/ 143 w 145"/>
                <a:gd name="T11" fmla="*/ 36 h 153"/>
                <a:gd name="T12" fmla="*/ 145 w 145"/>
                <a:gd name="T13" fmla="*/ 42 h 153"/>
                <a:gd name="T14" fmla="*/ 135 w 145"/>
                <a:gd name="T15" fmla="*/ 53 h 153"/>
                <a:gd name="T16" fmla="*/ 125 w 145"/>
                <a:gd name="T17" fmla="*/ 47 h 153"/>
                <a:gd name="T18" fmla="*/ 77 w 145"/>
                <a:gd name="T19" fmla="*/ 18 h 153"/>
                <a:gd name="T20" fmla="*/ 19 w 145"/>
                <a:gd name="T21" fmla="*/ 76 h 153"/>
                <a:gd name="T22" fmla="*/ 77 w 145"/>
                <a:gd name="T23" fmla="*/ 135 h 153"/>
                <a:gd name="T24" fmla="*/ 125 w 145"/>
                <a:gd name="T25" fmla="*/ 105 h 153"/>
                <a:gd name="T26" fmla="*/ 135 w 145"/>
                <a:gd name="T27" fmla="*/ 100 h 153"/>
                <a:gd name="T28" fmla="*/ 145 w 145"/>
                <a:gd name="T29" fmla="*/ 11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5" h="153">
                  <a:moveTo>
                    <a:pt x="145" y="110"/>
                  </a:moveTo>
                  <a:cubicBezTo>
                    <a:pt x="145" y="112"/>
                    <a:pt x="144" y="115"/>
                    <a:pt x="143" y="116"/>
                  </a:cubicBezTo>
                  <a:cubicBezTo>
                    <a:pt x="128" y="139"/>
                    <a:pt x="106" y="153"/>
                    <a:pt x="78" y="153"/>
                  </a:cubicBezTo>
                  <a:cubicBezTo>
                    <a:pt x="33" y="153"/>
                    <a:pt x="0" y="119"/>
                    <a:pt x="0" y="76"/>
                  </a:cubicBezTo>
                  <a:cubicBezTo>
                    <a:pt x="0" y="34"/>
                    <a:pt x="34" y="0"/>
                    <a:pt x="78" y="0"/>
                  </a:cubicBezTo>
                  <a:cubicBezTo>
                    <a:pt x="105" y="0"/>
                    <a:pt x="129" y="14"/>
                    <a:pt x="143" y="36"/>
                  </a:cubicBezTo>
                  <a:cubicBezTo>
                    <a:pt x="144" y="38"/>
                    <a:pt x="145" y="40"/>
                    <a:pt x="145" y="42"/>
                  </a:cubicBezTo>
                  <a:cubicBezTo>
                    <a:pt x="145" y="48"/>
                    <a:pt x="141" y="53"/>
                    <a:pt x="135" y="53"/>
                  </a:cubicBezTo>
                  <a:cubicBezTo>
                    <a:pt x="131" y="53"/>
                    <a:pt x="127" y="51"/>
                    <a:pt x="125" y="47"/>
                  </a:cubicBezTo>
                  <a:cubicBezTo>
                    <a:pt x="114" y="29"/>
                    <a:pt x="97" y="18"/>
                    <a:pt x="77" y="18"/>
                  </a:cubicBezTo>
                  <a:cubicBezTo>
                    <a:pt x="45" y="18"/>
                    <a:pt x="19" y="44"/>
                    <a:pt x="19" y="76"/>
                  </a:cubicBezTo>
                  <a:cubicBezTo>
                    <a:pt x="19" y="109"/>
                    <a:pt x="45" y="135"/>
                    <a:pt x="77" y="135"/>
                  </a:cubicBezTo>
                  <a:cubicBezTo>
                    <a:pt x="96" y="135"/>
                    <a:pt x="115" y="122"/>
                    <a:pt x="125" y="105"/>
                  </a:cubicBezTo>
                  <a:cubicBezTo>
                    <a:pt x="127" y="102"/>
                    <a:pt x="131" y="100"/>
                    <a:pt x="135" y="100"/>
                  </a:cubicBezTo>
                  <a:cubicBezTo>
                    <a:pt x="141" y="100"/>
                    <a:pt x="145" y="104"/>
                    <a:pt x="145" y="110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63" name="Freeform 41"/>
            <p:cNvSpPr>
              <a:spLocks noEditPoints="1"/>
            </p:cNvSpPr>
            <p:nvPr userDrawn="1"/>
          </p:nvSpPr>
          <p:spPr bwMode="auto">
            <a:xfrm>
              <a:off x="4719638" y="3122613"/>
              <a:ext cx="190500" cy="192088"/>
            </a:xfrm>
            <a:custGeom>
              <a:avLst/>
              <a:gdLst>
                <a:gd name="T0" fmla="*/ 76 w 152"/>
                <a:gd name="T1" fmla="*/ 0 h 153"/>
                <a:gd name="T2" fmla="*/ 152 w 152"/>
                <a:gd name="T3" fmla="*/ 76 h 153"/>
                <a:gd name="T4" fmla="*/ 76 w 152"/>
                <a:gd name="T5" fmla="*/ 153 h 153"/>
                <a:gd name="T6" fmla="*/ 0 w 152"/>
                <a:gd name="T7" fmla="*/ 76 h 153"/>
                <a:gd name="T8" fmla="*/ 76 w 152"/>
                <a:gd name="T9" fmla="*/ 0 h 153"/>
                <a:gd name="T10" fmla="*/ 76 w 152"/>
                <a:gd name="T11" fmla="*/ 134 h 153"/>
                <a:gd name="T12" fmla="*/ 133 w 152"/>
                <a:gd name="T13" fmla="*/ 76 h 153"/>
                <a:gd name="T14" fmla="*/ 76 w 152"/>
                <a:gd name="T15" fmla="*/ 18 h 153"/>
                <a:gd name="T16" fmla="*/ 18 w 152"/>
                <a:gd name="T17" fmla="*/ 76 h 153"/>
                <a:gd name="T18" fmla="*/ 76 w 152"/>
                <a:gd name="T19" fmla="*/ 134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2" h="153">
                  <a:moveTo>
                    <a:pt x="76" y="0"/>
                  </a:moveTo>
                  <a:cubicBezTo>
                    <a:pt x="118" y="0"/>
                    <a:pt x="152" y="34"/>
                    <a:pt x="152" y="76"/>
                  </a:cubicBezTo>
                  <a:cubicBezTo>
                    <a:pt x="152" y="119"/>
                    <a:pt x="118" y="153"/>
                    <a:pt x="76" y="153"/>
                  </a:cubicBezTo>
                  <a:cubicBezTo>
                    <a:pt x="33" y="153"/>
                    <a:pt x="0" y="119"/>
                    <a:pt x="0" y="76"/>
                  </a:cubicBezTo>
                  <a:cubicBezTo>
                    <a:pt x="0" y="34"/>
                    <a:pt x="33" y="0"/>
                    <a:pt x="76" y="0"/>
                  </a:cubicBezTo>
                  <a:close/>
                  <a:moveTo>
                    <a:pt x="76" y="134"/>
                  </a:moveTo>
                  <a:cubicBezTo>
                    <a:pt x="108" y="134"/>
                    <a:pt x="133" y="109"/>
                    <a:pt x="133" y="76"/>
                  </a:cubicBezTo>
                  <a:cubicBezTo>
                    <a:pt x="133" y="44"/>
                    <a:pt x="108" y="18"/>
                    <a:pt x="76" y="18"/>
                  </a:cubicBezTo>
                  <a:cubicBezTo>
                    <a:pt x="44" y="18"/>
                    <a:pt x="18" y="44"/>
                    <a:pt x="18" y="76"/>
                  </a:cubicBezTo>
                  <a:cubicBezTo>
                    <a:pt x="18" y="109"/>
                    <a:pt x="44" y="134"/>
                    <a:pt x="76" y="134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1024" name="Freeform 42"/>
            <p:cNvSpPr>
              <a:spLocks/>
            </p:cNvSpPr>
            <p:nvPr userDrawn="1"/>
          </p:nvSpPr>
          <p:spPr bwMode="auto">
            <a:xfrm>
              <a:off x="4929188" y="3122613"/>
              <a:ext cx="269875" cy="188913"/>
            </a:xfrm>
            <a:custGeom>
              <a:avLst/>
              <a:gdLst>
                <a:gd name="T0" fmla="*/ 99 w 216"/>
                <a:gd name="T1" fmla="*/ 143 h 151"/>
                <a:gd name="T2" fmla="*/ 99 w 216"/>
                <a:gd name="T3" fmla="*/ 61 h 151"/>
                <a:gd name="T4" fmla="*/ 59 w 216"/>
                <a:gd name="T5" fmla="*/ 18 h 151"/>
                <a:gd name="T6" fmla="*/ 19 w 216"/>
                <a:gd name="T7" fmla="*/ 66 h 151"/>
                <a:gd name="T8" fmla="*/ 19 w 216"/>
                <a:gd name="T9" fmla="*/ 141 h 151"/>
                <a:gd name="T10" fmla="*/ 10 w 216"/>
                <a:gd name="T11" fmla="*/ 151 h 151"/>
                <a:gd name="T12" fmla="*/ 0 w 216"/>
                <a:gd name="T13" fmla="*/ 141 h 151"/>
                <a:gd name="T14" fmla="*/ 0 w 216"/>
                <a:gd name="T15" fmla="*/ 63 h 151"/>
                <a:gd name="T16" fmla="*/ 57 w 216"/>
                <a:gd name="T17" fmla="*/ 0 h 151"/>
                <a:gd name="T18" fmla="*/ 59 w 216"/>
                <a:gd name="T19" fmla="*/ 0 h 151"/>
                <a:gd name="T20" fmla="*/ 108 w 216"/>
                <a:gd name="T21" fmla="*/ 27 h 151"/>
                <a:gd name="T22" fmla="*/ 155 w 216"/>
                <a:gd name="T23" fmla="*/ 0 h 151"/>
                <a:gd name="T24" fmla="*/ 158 w 216"/>
                <a:gd name="T25" fmla="*/ 0 h 151"/>
                <a:gd name="T26" fmla="*/ 216 w 216"/>
                <a:gd name="T27" fmla="*/ 63 h 151"/>
                <a:gd name="T28" fmla="*/ 216 w 216"/>
                <a:gd name="T29" fmla="*/ 141 h 151"/>
                <a:gd name="T30" fmla="*/ 206 w 216"/>
                <a:gd name="T31" fmla="*/ 151 h 151"/>
                <a:gd name="T32" fmla="*/ 197 w 216"/>
                <a:gd name="T33" fmla="*/ 141 h 151"/>
                <a:gd name="T34" fmla="*/ 197 w 216"/>
                <a:gd name="T35" fmla="*/ 66 h 151"/>
                <a:gd name="T36" fmla="*/ 157 w 216"/>
                <a:gd name="T37" fmla="*/ 18 h 151"/>
                <a:gd name="T38" fmla="*/ 117 w 216"/>
                <a:gd name="T39" fmla="*/ 60 h 151"/>
                <a:gd name="T40" fmla="*/ 117 w 216"/>
                <a:gd name="T41" fmla="*/ 143 h 151"/>
                <a:gd name="T42" fmla="*/ 99 w 216"/>
                <a:gd name="T43" fmla="*/ 14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6" h="151">
                  <a:moveTo>
                    <a:pt x="99" y="143"/>
                  </a:moveTo>
                  <a:cubicBezTo>
                    <a:pt x="99" y="61"/>
                    <a:pt x="99" y="61"/>
                    <a:pt x="99" y="61"/>
                  </a:cubicBezTo>
                  <a:cubicBezTo>
                    <a:pt x="99" y="36"/>
                    <a:pt x="82" y="18"/>
                    <a:pt x="59" y="18"/>
                  </a:cubicBezTo>
                  <a:cubicBezTo>
                    <a:pt x="31" y="18"/>
                    <a:pt x="19" y="40"/>
                    <a:pt x="19" y="66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19" y="147"/>
                    <a:pt x="16" y="151"/>
                    <a:pt x="10" y="151"/>
                  </a:cubicBezTo>
                  <a:cubicBezTo>
                    <a:pt x="4" y="151"/>
                    <a:pt x="0" y="147"/>
                    <a:pt x="0" y="141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30"/>
                    <a:pt x="20" y="2"/>
                    <a:pt x="57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80" y="0"/>
                    <a:pt x="97" y="10"/>
                    <a:pt x="108" y="27"/>
                  </a:cubicBezTo>
                  <a:cubicBezTo>
                    <a:pt x="118" y="12"/>
                    <a:pt x="137" y="1"/>
                    <a:pt x="155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92" y="0"/>
                    <a:pt x="216" y="27"/>
                    <a:pt x="216" y="63"/>
                  </a:cubicBezTo>
                  <a:cubicBezTo>
                    <a:pt x="216" y="141"/>
                    <a:pt x="216" y="141"/>
                    <a:pt x="216" y="141"/>
                  </a:cubicBezTo>
                  <a:cubicBezTo>
                    <a:pt x="216" y="147"/>
                    <a:pt x="212" y="151"/>
                    <a:pt x="206" y="151"/>
                  </a:cubicBezTo>
                  <a:cubicBezTo>
                    <a:pt x="201" y="151"/>
                    <a:pt x="197" y="147"/>
                    <a:pt x="197" y="141"/>
                  </a:cubicBezTo>
                  <a:cubicBezTo>
                    <a:pt x="197" y="66"/>
                    <a:pt x="197" y="66"/>
                    <a:pt x="197" y="66"/>
                  </a:cubicBezTo>
                  <a:cubicBezTo>
                    <a:pt x="197" y="38"/>
                    <a:pt x="181" y="18"/>
                    <a:pt x="157" y="18"/>
                  </a:cubicBezTo>
                  <a:cubicBezTo>
                    <a:pt x="133" y="18"/>
                    <a:pt x="117" y="37"/>
                    <a:pt x="117" y="60"/>
                  </a:cubicBezTo>
                  <a:cubicBezTo>
                    <a:pt x="117" y="143"/>
                    <a:pt x="117" y="143"/>
                    <a:pt x="117" y="143"/>
                  </a:cubicBezTo>
                  <a:lnTo>
                    <a:pt x="99" y="143"/>
                  </a:ln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1025" name="Freeform 43"/>
            <p:cNvSpPr>
              <a:spLocks/>
            </p:cNvSpPr>
            <p:nvPr userDrawn="1"/>
          </p:nvSpPr>
          <p:spPr bwMode="auto">
            <a:xfrm>
              <a:off x="5237163" y="3108325"/>
              <a:ext cx="101600" cy="220663"/>
            </a:xfrm>
            <a:custGeom>
              <a:avLst/>
              <a:gdLst>
                <a:gd name="T0" fmla="*/ 9 w 81"/>
                <a:gd name="T1" fmla="*/ 177 h 177"/>
                <a:gd name="T2" fmla="*/ 0 w 81"/>
                <a:gd name="T3" fmla="*/ 168 h 177"/>
                <a:gd name="T4" fmla="*/ 1 w 81"/>
                <a:gd name="T5" fmla="*/ 164 h 177"/>
                <a:gd name="T6" fmla="*/ 62 w 81"/>
                <a:gd name="T7" fmla="*/ 7 h 177"/>
                <a:gd name="T8" fmla="*/ 72 w 81"/>
                <a:gd name="T9" fmla="*/ 0 h 177"/>
                <a:gd name="T10" fmla="*/ 81 w 81"/>
                <a:gd name="T11" fmla="*/ 9 h 177"/>
                <a:gd name="T12" fmla="*/ 81 w 81"/>
                <a:gd name="T13" fmla="*/ 12 h 177"/>
                <a:gd name="T14" fmla="*/ 18 w 81"/>
                <a:gd name="T15" fmla="*/ 171 h 177"/>
                <a:gd name="T16" fmla="*/ 9 w 81"/>
                <a:gd name="T17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177">
                  <a:moveTo>
                    <a:pt x="9" y="177"/>
                  </a:moveTo>
                  <a:cubicBezTo>
                    <a:pt x="4" y="177"/>
                    <a:pt x="0" y="173"/>
                    <a:pt x="0" y="168"/>
                  </a:cubicBezTo>
                  <a:cubicBezTo>
                    <a:pt x="0" y="166"/>
                    <a:pt x="1" y="165"/>
                    <a:pt x="1" y="164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4" y="3"/>
                    <a:pt x="68" y="0"/>
                    <a:pt x="72" y="0"/>
                  </a:cubicBezTo>
                  <a:cubicBezTo>
                    <a:pt x="78" y="0"/>
                    <a:pt x="81" y="5"/>
                    <a:pt x="81" y="9"/>
                  </a:cubicBezTo>
                  <a:cubicBezTo>
                    <a:pt x="81" y="10"/>
                    <a:pt x="81" y="11"/>
                    <a:pt x="81" y="12"/>
                  </a:cubicBezTo>
                  <a:cubicBezTo>
                    <a:pt x="80" y="13"/>
                    <a:pt x="79" y="12"/>
                    <a:pt x="18" y="171"/>
                  </a:cubicBezTo>
                  <a:cubicBezTo>
                    <a:pt x="17" y="174"/>
                    <a:pt x="14" y="177"/>
                    <a:pt x="9" y="177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1029" name="Freeform 44"/>
            <p:cNvSpPr>
              <a:spLocks/>
            </p:cNvSpPr>
            <p:nvPr userDrawn="1"/>
          </p:nvSpPr>
          <p:spPr bwMode="auto">
            <a:xfrm>
              <a:off x="5353051" y="3122613"/>
              <a:ext cx="182563" cy="192088"/>
            </a:xfrm>
            <a:custGeom>
              <a:avLst/>
              <a:gdLst>
                <a:gd name="T0" fmla="*/ 145 w 145"/>
                <a:gd name="T1" fmla="*/ 110 h 153"/>
                <a:gd name="T2" fmla="*/ 143 w 145"/>
                <a:gd name="T3" fmla="*/ 116 h 153"/>
                <a:gd name="T4" fmla="*/ 78 w 145"/>
                <a:gd name="T5" fmla="*/ 153 h 153"/>
                <a:gd name="T6" fmla="*/ 0 w 145"/>
                <a:gd name="T7" fmla="*/ 76 h 153"/>
                <a:gd name="T8" fmla="*/ 78 w 145"/>
                <a:gd name="T9" fmla="*/ 0 h 153"/>
                <a:gd name="T10" fmla="*/ 143 w 145"/>
                <a:gd name="T11" fmla="*/ 36 h 153"/>
                <a:gd name="T12" fmla="*/ 145 w 145"/>
                <a:gd name="T13" fmla="*/ 42 h 153"/>
                <a:gd name="T14" fmla="*/ 135 w 145"/>
                <a:gd name="T15" fmla="*/ 53 h 153"/>
                <a:gd name="T16" fmla="*/ 126 w 145"/>
                <a:gd name="T17" fmla="*/ 47 h 153"/>
                <a:gd name="T18" fmla="*/ 78 w 145"/>
                <a:gd name="T19" fmla="*/ 18 h 153"/>
                <a:gd name="T20" fmla="*/ 19 w 145"/>
                <a:gd name="T21" fmla="*/ 76 h 153"/>
                <a:gd name="T22" fmla="*/ 78 w 145"/>
                <a:gd name="T23" fmla="*/ 135 h 153"/>
                <a:gd name="T24" fmla="*/ 126 w 145"/>
                <a:gd name="T25" fmla="*/ 105 h 153"/>
                <a:gd name="T26" fmla="*/ 135 w 145"/>
                <a:gd name="T27" fmla="*/ 100 h 153"/>
                <a:gd name="T28" fmla="*/ 145 w 145"/>
                <a:gd name="T29" fmla="*/ 11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5" h="153">
                  <a:moveTo>
                    <a:pt x="145" y="110"/>
                  </a:moveTo>
                  <a:cubicBezTo>
                    <a:pt x="145" y="112"/>
                    <a:pt x="144" y="115"/>
                    <a:pt x="143" y="116"/>
                  </a:cubicBezTo>
                  <a:cubicBezTo>
                    <a:pt x="128" y="139"/>
                    <a:pt x="106" y="153"/>
                    <a:pt x="78" y="153"/>
                  </a:cubicBezTo>
                  <a:cubicBezTo>
                    <a:pt x="34" y="153"/>
                    <a:pt x="0" y="119"/>
                    <a:pt x="0" y="76"/>
                  </a:cubicBezTo>
                  <a:cubicBezTo>
                    <a:pt x="0" y="34"/>
                    <a:pt x="34" y="0"/>
                    <a:pt x="78" y="0"/>
                  </a:cubicBezTo>
                  <a:cubicBezTo>
                    <a:pt x="106" y="0"/>
                    <a:pt x="129" y="14"/>
                    <a:pt x="143" y="36"/>
                  </a:cubicBezTo>
                  <a:cubicBezTo>
                    <a:pt x="144" y="38"/>
                    <a:pt x="145" y="40"/>
                    <a:pt x="145" y="42"/>
                  </a:cubicBezTo>
                  <a:cubicBezTo>
                    <a:pt x="145" y="48"/>
                    <a:pt x="141" y="53"/>
                    <a:pt x="135" y="53"/>
                  </a:cubicBezTo>
                  <a:cubicBezTo>
                    <a:pt x="131" y="53"/>
                    <a:pt x="128" y="51"/>
                    <a:pt x="126" y="47"/>
                  </a:cubicBezTo>
                  <a:cubicBezTo>
                    <a:pt x="115" y="29"/>
                    <a:pt x="97" y="18"/>
                    <a:pt x="78" y="18"/>
                  </a:cubicBezTo>
                  <a:cubicBezTo>
                    <a:pt x="45" y="18"/>
                    <a:pt x="19" y="44"/>
                    <a:pt x="19" y="76"/>
                  </a:cubicBezTo>
                  <a:cubicBezTo>
                    <a:pt x="19" y="109"/>
                    <a:pt x="45" y="135"/>
                    <a:pt x="78" y="135"/>
                  </a:cubicBezTo>
                  <a:cubicBezTo>
                    <a:pt x="96" y="135"/>
                    <a:pt x="115" y="122"/>
                    <a:pt x="126" y="105"/>
                  </a:cubicBezTo>
                  <a:cubicBezTo>
                    <a:pt x="127" y="102"/>
                    <a:pt x="131" y="100"/>
                    <a:pt x="135" y="100"/>
                  </a:cubicBezTo>
                  <a:cubicBezTo>
                    <a:pt x="142" y="100"/>
                    <a:pt x="145" y="104"/>
                    <a:pt x="145" y="110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1030" name="Freeform 45"/>
            <p:cNvSpPr>
              <a:spLocks/>
            </p:cNvSpPr>
            <p:nvPr userDrawn="1"/>
          </p:nvSpPr>
          <p:spPr bwMode="auto">
            <a:xfrm>
              <a:off x="5556251" y="3122613"/>
              <a:ext cx="190500" cy="192088"/>
            </a:xfrm>
            <a:custGeom>
              <a:avLst/>
              <a:gdLst>
                <a:gd name="T0" fmla="*/ 152 w 152"/>
                <a:gd name="T1" fmla="*/ 76 h 153"/>
                <a:gd name="T2" fmla="*/ 152 w 152"/>
                <a:gd name="T3" fmla="*/ 142 h 153"/>
                <a:gd name="T4" fmla="*/ 143 w 152"/>
                <a:gd name="T5" fmla="*/ 151 h 153"/>
                <a:gd name="T6" fmla="*/ 134 w 152"/>
                <a:gd name="T7" fmla="*/ 142 h 153"/>
                <a:gd name="T8" fmla="*/ 134 w 152"/>
                <a:gd name="T9" fmla="*/ 76 h 153"/>
                <a:gd name="T10" fmla="*/ 76 w 152"/>
                <a:gd name="T11" fmla="*/ 19 h 153"/>
                <a:gd name="T12" fmla="*/ 19 w 152"/>
                <a:gd name="T13" fmla="*/ 76 h 153"/>
                <a:gd name="T14" fmla="*/ 76 w 152"/>
                <a:gd name="T15" fmla="*/ 134 h 153"/>
                <a:gd name="T16" fmla="*/ 123 w 152"/>
                <a:gd name="T17" fmla="*/ 112 h 153"/>
                <a:gd name="T18" fmla="*/ 123 w 152"/>
                <a:gd name="T19" fmla="*/ 137 h 153"/>
                <a:gd name="T20" fmla="*/ 76 w 152"/>
                <a:gd name="T21" fmla="*/ 153 h 153"/>
                <a:gd name="T22" fmla="*/ 0 w 152"/>
                <a:gd name="T23" fmla="*/ 76 h 153"/>
                <a:gd name="T24" fmla="*/ 76 w 152"/>
                <a:gd name="T25" fmla="*/ 0 h 153"/>
                <a:gd name="T26" fmla="*/ 152 w 152"/>
                <a:gd name="T27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2" h="153">
                  <a:moveTo>
                    <a:pt x="152" y="76"/>
                  </a:moveTo>
                  <a:cubicBezTo>
                    <a:pt x="152" y="142"/>
                    <a:pt x="152" y="142"/>
                    <a:pt x="152" y="142"/>
                  </a:cubicBezTo>
                  <a:cubicBezTo>
                    <a:pt x="152" y="147"/>
                    <a:pt x="148" y="151"/>
                    <a:pt x="143" y="151"/>
                  </a:cubicBezTo>
                  <a:cubicBezTo>
                    <a:pt x="138" y="151"/>
                    <a:pt x="134" y="147"/>
                    <a:pt x="134" y="142"/>
                  </a:cubicBezTo>
                  <a:cubicBezTo>
                    <a:pt x="134" y="76"/>
                    <a:pt x="134" y="76"/>
                    <a:pt x="134" y="76"/>
                  </a:cubicBezTo>
                  <a:cubicBezTo>
                    <a:pt x="134" y="45"/>
                    <a:pt x="109" y="19"/>
                    <a:pt x="76" y="19"/>
                  </a:cubicBezTo>
                  <a:cubicBezTo>
                    <a:pt x="45" y="19"/>
                    <a:pt x="19" y="45"/>
                    <a:pt x="19" y="76"/>
                  </a:cubicBezTo>
                  <a:cubicBezTo>
                    <a:pt x="19" y="108"/>
                    <a:pt x="45" y="134"/>
                    <a:pt x="76" y="134"/>
                  </a:cubicBezTo>
                  <a:cubicBezTo>
                    <a:pt x="94" y="134"/>
                    <a:pt x="111" y="126"/>
                    <a:pt x="123" y="112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09" y="147"/>
                    <a:pt x="93" y="153"/>
                    <a:pt x="76" y="153"/>
                  </a:cubicBezTo>
                  <a:cubicBezTo>
                    <a:pt x="34" y="153"/>
                    <a:pt x="0" y="120"/>
                    <a:pt x="0" y="76"/>
                  </a:cubicBezTo>
                  <a:cubicBezTo>
                    <a:pt x="0" y="33"/>
                    <a:pt x="34" y="0"/>
                    <a:pt x="76" y="0"/>
                  </a:cubicBezTo>
                  <a:cubicBezTo>
                    <a:pt x="120" y="0"/>
                    <a:pt x="152" y="34"/>
                    <a:pt x="152" y="76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1031" name="Freeform 46"/>
            <p:cNvSpPr>
              <a:spLocks/>
            </p:cNvSpPr>
            <p:nvPr userDrawn="1"/>
          </p:nvSpPr>
          <p:spPr bwMode="auto">
            <a:xfrm>
              <a:off x="5775326" y="3122613"/>
              <a:ext cx="103188" cy="188913"/>
            </a:xfrm>
            <a:custGeom>
              <a:avLst/>
              <a:gdLst>
                <a:gd name="T0" fmla="*/ 73 w 83"/>
                <a:gd name="T1" fmla="*/ 19 h 151"/>
                <a:gd name="T2" fmla="*/ 19 w 83"/>
                <a:gd name="T3" fmla="*/ 75 h 151"/>
                <a:gd name="T4" fmla="*/ 19 w 83"/>
                <a:gd name="T5" fmla="*/ 142 h 151"/>
                <a:gd name="T6" fmla="*/ 10 w 83"/>
                <a:gd name="T7" fmla="*/ 151 h 151"/>
                <a:gd name="T8" fmla="*/ 0 w 83"/>
                <a:gd name="T9" fmla="*/ 142 h 151"/>
                <a:gd name="T10" fmla="*/ 0 w 83"/>
                <a:gd name="T11" fmla="*/ 73 h 151"/>
                <a:gd name="T12" fmla="*/ 74 w 83"/>
                <a:gd name="T13" fmla="*/ 0 h 151"/>
                <a:gd name="T14" fmla="*/ 83 w 83"/>
                <a:gd name="T15" fmla="*/ 10 h 151"/>
                <a:gd name="T16" fmla="*/ 73 w 83"/>
                <a:gd name="T17" fmla="*/ 1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151">
                  <a:moveTo>
                    <a:pt x="73" y="19"/>
                  </a:moveTo>
                  <a:cubicBezTo>
                    <a:pt x="41" y="19"/>
                    <a:pt x="19" y="42"/>
                    <a:pt x="19" y="75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19" y="147"/>
                    <a:pt x="15" y="151"/>
                    <a:pt x="10" y="151"/>
                  </a:cubicBezTo>
                  <a:cubicBezTo>
                    <a:pt x="4" y="151"/>
                    <a:pt x="0" y="147"/>
                    <a:pt x="0" y="142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31"/>
                    <a:pt x="31" y="0"/>
                    <a:pt x="74" y="0"/>
                  </a:cubicBezTo>
                  <a:cubicBezTo>
                    <a:pt x="79" y="0"/>
                    <a:pt x="83" y="4"/>
                    <a:pt x="83" y="10"/>
                  </a:cubicBezTo>
                  <a:cubicBezTo>
                    <a:pt x="83" y="15"/>
                    <a:pt x="79" y="18"/>
                    <a:pt x="73" y="19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1032" name="Freeform 47"/>
            <p:cNvSpPr>
              <a:spLocks/>
            </p:cNvSpPr>
            <p:nvPr userDrawn="1"/>
          </p:nvSpPr>
          <p:spPr bwMode="auto">
            <a:xfrm>
              <a:off x="5878513" y="3122613"/>
              <a:ext cx="187325" cy="192088"/>
            </a:xfrm>
            <a:custGeom>
              <a:avLst/>
              <a:gdLst>
                <a:gd name="T0" fmla="*/ 44 w 151"/>
                <a:gd name="T1" fmla="*/ 65 h 153"/>
                <a:gd name="T2" fmla="*/ 130 w 151"/>
                <a:gd name="T3" fmla="*/ 65 h 153"/>
                <a:gd name="T4" fmla="*/ 76 w 151"/>
                <a:gd name="T5" fmla="*/ 18 h 153"/>
                <a:gd name="T6" fmla="*/ 19 w 151"/>
                <a:gd name="T7" fmla="*/ 75 h 153"/>
                <a:gd name="T8" fmla="*/ 75 w 151"/>
                <a:gd name="T9" fmla="*/ 134 h 153"/>
                <a:gd name="T10" fmla="*/ 125 w 151"/>
                <a:gd name="T11" fmla="*/ 106 h 153"/>
                <a:gd name="T12" fmla="*/ 134 w 151"/>
                <a:gd name="T13" fmla="*/ 101 h 153"/>
                <a:gd name="T14" fmla="*/ 143 w 151"/>
                <a:gd name="T15" fmla="*/ 110 h 153"/>
                <a:gd name="T16" fmla="*/ 141 w 151"/>
                <a:gd name="T17" fmla="*/ 117 h 153"/>
                <a:gd name="T18" fmla="*/ 142 w 151"/>
                <a:gd name="T19" fmla="*/ 117 h 153"/>
                <a:gd name="T20" fmla="*/ 75 w 151"/>
                <a:gd name="T21" fmla="*/ 153 h 153"/>
                <a:gd name="T22" fmla="*/ 0 w 151"/>
                <a:gd name="T23" fmla="*/ 77 h 153"/>
                <a:gd name="T24" fmla="*/ 75 w 151"/>
                <a:gd name="T25" fmla="*/ 0 h 153"/>
                <a:gd name="T26" fmla="*/ 151 w 151"/>
                <a:gd name="T27" fmla="*/ 75 h 153"/>
                <a:gd name="T28" fmla="*/ 141 w 151"/>
                <a:gd name="T29" fmla="*/ 84 h 153"/>
                <a:gd name="T30" fmla="*/ 44 w 151"/>
                <a:gd name="T31" fmla="*/ 84 h 153"/>
                <a:gd name="T32" fmla="*/ 35 w 151"/>
                <a:gd name="T33" fmla="*/ 75 h 153"/>
                <a:gd name="T34" fmla="*/ 44 w 151"/>
                <a:gd name="T35" fmla="*/ 65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1" h="153">
                  <a:moveTo>
                    <a:pt x="44" y="65"/>
                  </a:moveTo>
                  <a:cubicBezTo>
                    <a:pt x="130" y="65"/>
                    <a:pt x="130" y="65"/>
                    <a:pt x="130" y="65"/>
                  </a:cubicBezTo>
                  <a:cubicBezTo>
                    <a:pt x="126" y="37"/>
                    <a:pt x="102" y="18"/>
                    <a:pt x="76" y="18"/>
                  </a:cubicBezTo>
                  <a:cubicBezTo>
                    <a:pt x="46" y="18"/>
                    <a:pt x="19" y="43"/>
                    <a:pt x="19" y="75"/>
                  </a:cubicBezTo>
                  <a:cubicBezTo>
                    <a:pt x="19" y="106"/>
                    <a:pt x="41" y="133"/>
                    <a:pt x="75" y="134"/>
                  </a:cubicBezTo>
                  <a:cubicBezTo>
                    <a:pt x="94" y="135"/>
                    <a:pt x="114" y="124"/>
                    <a:pt x="125" y="106"/>
                  </a:cubicBezTo>
                  <a:cubicBezTo>
                    <a:pt x="127" y="103"/>
                    <a:pt x="130" y="101"/>
                    <a:pt x="134" y="101"/>
                  </a:cubicBezTo>
                  <a:cubicBezTo>
                    <a:pt x="140" y="101"/>
                    <a:pt x="143" y="105"/>
                    <a:pt x="143" y="110"/>
                  </a:cubicBezTo>
                  <a:cubicBezTo>
                    <a:pt x="143" y="112"/>
                    <a:pt x="143" y="115"/>
                    <a:pt x="141" y="117"/>
                  </a:cubicBezTo>
                  <a:cubicBezTo>
                    <a:pt x="142" y="117"/>
                    <a:pt x="142" y="117"/>
                    <a:pt x="142" y="117"/>
                  </a:cubicBezTo>
                  <a:cubicBezTo>
                    <a:pt x="128" y="139"/>
                    <a:pt x="103" y="153"/>
                    <a:pt x="75" y="153"/>
                  </a:cubicBezTo>
                  <a:cubicBezTo>
                    <a:pt x="33" y="151"/>
                    <a:pt x="0" y="119"/>
                    <a:pt x="0" y="77"/>
                  </a:cubicBezTo>
                  <a:cubicBezTo>
                    <a:pt x="0" y="34"/>
                    <a:pt x="33" y="0"/>
                    <a:pt x="75" y="0"/>
                  </a:cubicBezTo>
                  <a:cubicBezTo>
                    <a:pt x="114" y="0"/>
                    <a:pt x="151" y="30"/>
                    <a:pt x="151" y="75"/>
                  </a:cubicBezTo>
                  <a:cubicBezTo>
                    <a:pt x="151" y="80"/>
                    <a:pt x="147" y="84"/>
                    <a:pt x="141" y="84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39" y="84"/>
                    <a:pt x="35" y="80"/>
                    <a:pt x="35" y="75"/>
                  </a:cubicBezTo>
                  <a:cubicBezTo>
                    <a:pt x="35" y="70"/>
                    <a:pt x="39" y="65"/>
                    <a:pt x="44" y="65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1033" name="Freeform 48"/>
            <p:cNvSpPr>
              <a:spLocks/>
            </p:cNvSpPr>
            <p:nvPr userDrawn="1"/>
          </p:nvSpPr>
          <p:spPr bwMode="auto">
            <a:xfrm>
              <a:off x="6084888" y="3122613"/>
              <a:ext cx="187325" cy="192088"/>
            </a:xfrm>
            <a:custGeom>
              <a:avLst/>
              <a:gdLst>
                <a:gd name="T0" fmla="*/ 43 w 150"/>
                <a:gd name="T1" fmla="*/ 65 h 153"/>
                <a:gd name="T2" fmla="*/ 129 w 150"/>
                <a:gd name="T3" fmla="*/ 65 h 153"/>
                <a:gd name="T4" fmla="*/ 75 w 150"/>
                <a:gd name="T5" fmla="*/ 18 h 153"/>
                <a:gd name="T6" fmla="*/ 19 w 150"/>
                <a:gd name="T7" fmla="*/ 75 h 153"/>
                <a:gd name="T8" fmla="*/ 74 w 150"/>
                <a:gd name="T9" fmla="*/ 134 h 153"/>
                <a:gd name="T10" fmla="*/ 124 w 150"/>
                <a:gd name="T11" fmla="*/ 106 h 153"/>
                <a:gd name="T12" fmla="*/ 134 w 150"/>
                <a:gd name="T13" fmla="*/ 101 h 153"/>
                <a:gd name="T14" fmla="*/ 143 w 150"/>
                <a:gd name="T15" fmla="*/ 110 h 153"/>
                <a:gd name="T16" fmla="*/ 141 w 150"/>
                <a:gd name="T17" fmla="*/ 117 h 153"/>
                <a:gd name="T18" fmla="*/ 141 w 150"/>
                <a:gd name="T19" fmla="*/ 117 h 153"/>
                <a:gd name="T20" fmla="*/ 75 w 150"/>
                <a:gd name="T21" fmla="*/ 153 h 153"/>
                <a:gd name="T22" fmla="*/ 0 w 150"/>
                <a:gd name="T23" fmla="*/ 77 h 153"/>
                <a:gd name="T24" fmla="*/ 74 w 150"/>
                <a:gd name="T25" fmla="*/ 0 h 153"/>
                <a:gd name="T26" fmla="*/ 150 w 150"/>
                <a:gd name="T27" fmla="*/ 75 h 153"/>
                <a:gd name="T28" fmla="*/ 141 w 150"/>
                <a:gd name="T29" fmla="*/ 84 h 153"/>
                <a:gd name="T30" fmla="*/ 43 w 150"/>
                <a:gd name="T31" fmla="*/ 84 h 153"/>
                <a:gd name="T32" fmla="*/ 34 w 150"/>
                <a:gd name="T33" fmla="*/ 75 h 153"/>
                <a:gd name="T34" fmla="*/ 43 w 150"/>
                <a:gd name="T35" fmla="*/ 65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0" h="153">
                  <a:moveTo>
                    <a:pt x="43" y="65"/>
                  </a:moveTo>
                  <a:cubicBezTo>
                    <a:pt x="129" y="65"/>
                    <a:pt x="129" y="65"/>
                    <a:pt x="129" y="65"/>
                  </a:cubicBezTo>
                  <a:cubicBezTo>
                    <a:pt x="125" y="37"/>
                    <a:pt x="101" y="18"/>
                    <a:pt x="75" y="18"/>
                  </a:cubicBezTo>
                  <a:cubicBezTo>
                    <a:pt x="45" y="18"/>
                    <a:pt x="19" y="43"/>
                    <a:pt x="19" y="75"/>
                  </a:cubicBezTo>
                  <a:cubicBezTo>
                    <a:pt x="19" y="106"/>
                    <a:pt x="41" y="133"/>
                    <a:pt x="74" y="134"/>
                  </a:cubicBezTo>
                  <a:cubicBezTo>
                    <a:pt x="94" y="135"/>
                    <a:pt x="113" y="124"/>
                    <a:pt x="124" y="106"/>
                  </a:cubicBezTo>
                  <a:cubicBezTo>
                    <a:pt x="126" y="103"/>
                    <a:pt x="130" y="101"/>
                    <a:pt x="134" y="101"/>
                  </a:cubicBezTo>
                  <a:cubicBezTo>
                    <a:pt x="139" y="101"/>
                    <a:pt x="143" y="105"/>
                    <a:pt x="143" y="110"/>
                  </a:cubicBezTo>
                  <a:cubicBezTo>
                    <a:pt x="143" y="112"/>
                    <a:pt x="142" y="115"/>
                    <a:pt x="141" y="117"/>
                  </a:cubicBezTo>
                  <a:cubicBezTo>
                    <a:pt x="141" y="117"/>
                    <a:pt x="141" y="117"/>
                    <a:pt x="141" y="117"/>
                  </a:cubicBezTo>
                  <a:cubicBezTo>
                    <a:pt x="128" y="139"/>
                    <a:pt x="103" y="153"/>
                    <a:pt x="75" y="153"/>
                  </a:cubicBezTo>
                  <a:cubicBezTo>
                    <a:pt x="32" y="151"/>
                    <a:pt x="0" y="119"/>
                    <a:pt x="0" y="77"/>
                  </a:cubicBezTo>
                  <a:cubicBezTo>
                    <a:pt x="0" y="34"/>
                    <a:pt x="32" y="0"/>
                    <a:pt x="74" y="0"/>
                  </a:cubicBezTo>
                  <a:cubicBezTo>
                    <a:pt x="113" y="0"/>
                    <a:pt x="150" y="30"/>
                    <a:pt x="150" y="75"/>
                  </a:cubicBezTo>
                  <a:cubicBezTo>
                    <a:pt x="150" y="80"/>
                    <a:pt x="146" y="84"/>
                    <a:pt x="141" y="84"/>
                  </a:cubicBezTo>
                  <a:cubicBezTo>
                    <a:pt x="43" y="84"/>
                    <a:pt x="43" y="84"/>
                    <a:pt x="43" y="84"/>
                  </a:cubicBezTo>
                  <a:cubicBezTo>
                    <a:pt x="38" y="84"/>
                    <a:pt x="34" y="80"/>
                    <a:pt x="34" y="75"/>
                  </a:cubicBezTo>
                  <a:cubicBezTo>
                    <a:pt x="34" y="70"/>
                    <a:pt x="38" y="65"/>
                    <a:pt x="43" y="65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1034" name="Freeform 49"/>
            <p:cNvSpPr>
              <a:spLocks/>
            </p:cNvSpPr>
            <p:nvPr userDrawn="1"/>
          </p:nvSpPr>
          <p:spPr bwMode="auto">
            <a:xfrm>
              <a:off x="6296026" y="3122613"/>
              <a:ext cx="103188" cy="188913"/>
            </a:xfrm>
            <a:custGeom>
              <a:avLst/>
              <a:gdLst>
                <a:gd name="T0" fmla="*/ 73 w 83"/>
                <a:gd name="T1" fmla="*/ 19 h 151"/>
                <a:gd name="T2" fmla="*/ 19 w 83"/>
                <a:gd name="T3" fmla="*/ 75 h 151"/>
                <a:gd name="T4" fmla="*/ 19 w 83"/>
                <a:gd name="T5" fmla="*/ 142 h 151"/>
                <a:gd name="T6" fmla="*/ 9 w 83"/>
                <a:gd name="T7" fmla="*/ 151 h 151"/>
                <a:gd name="T8" fmla="*/ 0 w 83"/>
                <a:gd name="T9" fmla="*/ 142 h 151"/>
                <a:gd name="T10" fmla="*/ 0 w 83"/>
                <a:gd name="T11" fmla="*/ 73 h 151"/>
                <a:gd name="T12" fmla="*/ 74 w 83"/>
                <a:gd name="T13" fmla="*/ 0 h 151"/>
                <a:gd name="T14" fmla="*/ 83 w 83"/>
                <a:gd name="T15" fmla="*/ 10 h 151"/>
                <a:gd name="T16" fmla="*/ 73 w 83"/>
                <a:gd name="T17" fmla="*/ 1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151">
                  <a:moveTo>
                    <a:pt x="73" y="19"/>
                  </a:moveTo>
                  <a:cubicBezTo>
                    <a:pt x="41" y="19"/>
                    <a:pt x="19" y="42"/>
                    <a:pt x="19" y="75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19" y="147"/>
                    <a:pt x="14" y="151"/>
                    <a:pt x="9" y="151"/>
                  </a:cubicBezTo>
                  <a:cubicBezTo>
                    <a:pt x="4" y="151"/>
                    <a:pt x="0" y="147"/>
                    <a:pt x="0" y="142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31"/>
                    <a:pt x="31" y="0"/>
                    <a:pt x="74" y="0"/>
                  </a:cubicBezTo>
                  <a:cubicBezTo>
                    <a:pt x="78" y="0"/>
                    <a:pt x="83" y="4"/>
                    <a:pt x="83" y="10"/>
                  </a:cubicBezTo>
                  <a:cubicBezTo>
                    <a:pt x="83" y="15"/>
                    <a:pt x="78" y="18"/>
                    <a:pt x="73" y="19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1035" name="Freeform 50"/>
            <p:cNvSpPr>
              <a:spLocks/>
            </p:cNvSpPr>
            <p:nvPr userDrawn="1"/>
          </p:nvSpPr>
          <p:spPr bwMode="auto">
            <a:xfrm>
              <a:off x="6402388" y="3122613"/>
              <a:ext cx="114300" cy="192088"/>
            </a:xfrm>
            <a:custGeom>
              <a:avLst/>
              <a:gdLst>
                <a:gd name="T0" fmla="*/ 78 w 91"/>
                <a:gd name="T1" fmla="*/ 38 h 153"/>
                <a:gd name="T2" fmla="*/ 67 w 91"/>
                <a:gd name="T3" fmla="*/ 31 h 153"/>
                <a:gd name="T4" fmla="*/ 45 w 91"/>
                <a:gd name="T5" fmla="*/ 18 h 153"/>
                <a:gd name="T6" fmla="*/ 24 w 91"/>
                <a:gd name="T7" fmla="*/ 39 h 153"/>
                <a:gd name="T8" fmla="*/ 49 w 91"/>
                <a:gd name="T9" fmla="*/ 63 h 153"/>
                <a:gd name="T10" fmla="*/ 75 w 91"/>
                <a:gd name="T11" fmla="*/ 75 h 153"/>
                <a:gd name="T12" fmla="*/ 91 w 91"/>
                <a:gd name="T13" fmla="*/ 107 h 153"/>
                <a:gd name="T14" fmla="*/ 46 w 91"/>
                <a:gd name="T15" fmla="*/ 153 h 153"/>
                <a:gd name="T16" fmla="*/ 0 w 91"/>
                <a:gd name="T17" fmla="*/ 114 h 153"/>
                <a:gd name="T18" fmla="*/ 0 w 91"/>
                <a:gd name="T19" fmla="*/ 111 h 153"/>
                <a:gd name="T20" fmla="*/ 9 w 91"/>
                <a:gd name="T21" fmla="*/ 101 h 153"/>
                <a:gd name="T22" fmla="*/ 19 w 91"/>
                <a:gd name="T23" fmla="*/ 111 h 153"/>
                <a:gd name="T24" fmla="*/ 46 w 91"/>
                <a:gd name="T25" fmla="*/ 135 h 153"/>
                <a:gd name="T26" fmla="*/ 72 w 91"/>
                <a:gd name="T27" fmla="*/ 110 h 153"/>
                <a:gd name="T28" fmla="*/ 43 w 91"/>
                <a:gd name="T29" fmla="*/ 81 h 153"/>
                <a:gd name="T30" fmla="*/ 4 w 91"/>
                <a:gd name="T31" fmla="*/ 40 h 153"/>
                <a:gd name="T32" fmla="*/ 46 w 91"/>
                <a:gd name="T33" fmla="*/ 0 h 153"/>
                <a:gd name="T34" fmla="*/ 85 w 91"/>
                <a:gd name="T35" fmla="*/ 28 h 153"/>
                <a:gd name="T36" fmla="*/ 78 w 91"/>
                <a:gd name="T37" fmla="*/ 3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53">
                  <a:moveTo>
                    <a:pt x="78" y="38"/>
                  </a:moveTo>
                  <a:cubicBezTo>
                    <a:pt x="73" y="39"/>
                    <a:pt x="69" y="36"/>
                    <a:pt x="67" y="31"/>
                  </a:cubicBezTo>
                  <a:cubicBezTo>
                    <a:pt x="63" y="22"/>
                    <a:pt x="55" y="18"/>
                    <a:pt x="45" y="18"/>
                  </a:cubicBezTo>
                  <a:cubicBezTo>
                    <a:pt x="33" y="18"/>
                    <a:pt x="24" y="28"/>
                    <a:pt x="24" y="39"/>
                  </a:cubicBezTo>
                  <a:cubicBezTo>
                    <a:pt x="24" y="50"/>
                    <a:pt x="30" y="56"/>
                    <a:pt x="49" y="63"/>
                  </a:cubicBezTo>
                  <a:cubicBezTo>
                    <a:pt x="58" y="66"/>
                    <a:pt x="68" y="70"/>
                    <a:pt x="75" y="75"/>
                  </a:cubicBezTo>
                  <a:cubicBezTo>
                    <a:pt x="86" y="83"/>
                    <a:pt x="91" y="94"/>
                    <a:pt x="91" y="107"/>
                  </a:cubicBezTo>
                  <a:cubicBezTo>
                    <a:pt x="91" y="135"/>
                    <a:pt x="73" y="153"/>
                    <a:pt x="46" y="153"/>
                  </a:cubicBezTo>
                  <a:cubicBezTo>
                    <a:pt x="21" y="153"/>
                    <a:pt x="6" y="137"/>
                    <a:pt x="0" y="114"/>
                  </a:cubicBezTo>
                  <a:cubicBezTo>
                    <a:pt x="0" y="113"/>
                    <a:pt x="0" y="112"/>
                    <a:pt x="0" y="111"/>
                  </a:cubicBezTo>
                  <a:cubicBezTo>
                    <a:pt x="0" y="105"/>
                    <a:pt x="4" y="101"/>
                    <a:pt x="9" y="101"/>
                  </a:cubicBezTo>
                  <a:cubicBezTo>
                    <a:pt x="15" y="101"/>
                    <a:pt x="18" y="105"/>
                    <a:pt x="19" y="111"/>
                  </a:cubicBezTo>
                  <a:cubicBezTo>
                    <a:pt x="22" y="125"/>
                    <a:pt x="33" y="135"/>
                    <a:pt x="46" y="135"/>
                  </a:cubicBezTo>
                  <a:cubicBezTo>
                    <a:pt x="60" y="135"/>
                    <a:pt x="72" y="124"/>
                    <a:pt x="72" y="110"/>
                  </a:cubicBezTo>
                  <a:cubicBezTo>
                    <a:pt x="72" y="97"/>
                    <a:pt x="64" y="88"/>
                    <a:pt x="43" y="81"/>
                  </a:cubicBezTo>
                  <a:cubicBezTo>
                    <a:pt x="14" y="71"/>
                    <a:pt x="4" y="60"/>
                    <a:pt x="4" y="40"/>
                  </a:cubicBezTo>
                  <a:cubicBezTo>
                    <a:pt x="4" y="17"/>
                    <a:pt x="22" y="0"/>
                    <a:pt x="46" y="0"/>
                  </a:cubicBezTo>
                  <a:cubicBezTo>
                    <a:pt x="68" y="0"/>
                    <a:pt x="85" y="15"/>
                    <a:pt x="85" y="28"/>
                  </a:cubicBezTo>
                  <a:cubicBezTo>
                    <a:pt x="85" y="32"/>
                    <a:pt x="83" y="37"/>
                    <a:pt x="78" y="38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44755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1794044" y="1015059"/>
            <a:ext cx="5861051" cy="2109423"/>
            <a:chOff x="1794043" y="1015999"/>
            <a:chExt cx="5861051" cy="211137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" name="Oval 8"/>
            <p:cNvSpPr>
              <a:spLocks noChangeArrowheads="1"/>
            </p:cNvSpPr>
            <p:nvPr userDrawn="1"/>
          </p:nvSpPr>
          <p:spPr bwMode="auto">
            <a:xfrm>
              <a:off x="4281656" y="1322387"/>
              <a:ext cx="90488" cy="92075"/>
            </a:xfrm>
            <a:prstGeom prst="ellipse">
              <a:avLst/>
            </a:prstGeom>
            <a:solidFill>
              <a:srgbClr val="69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29" name="Freeform 9"/>
            <p:cNvSpPr>
              <a:spLocks/>
            </p:cNvSpPr>
            <p:nvPr userDrawn="1"/>
          </p:nvSpPr>
          <p:spPr bwMode="auto">
            <a:xfrm>
              <a:off x="4227681" y="1422399"/>
              <a:ext cx="196850" cy="381000"/>
            </a:xfrm>
            <a:custGeom>
              <a:avLst/>
              <a:gdLst>
                <a:gd name="T0" fmla="*/ 157 w 157"/>
                <a:gd name="T1" fmla="*/ 41 h 305"/>
                <a:gd name="T2" fmla="*/ 114 w 157"/>
                <a:gd name="T3" fmla="*/ 0 h 305"/>
                <a:gd name="T4" fmla="*/ 43 w 157"/>
                <a:gd name="T5" fmla="*/ 0 h 305"/>
                <a:gd name="T6" fmla="*/ 0 w 157"/>
                <a:gd name="T7" fmla="*/ 41 h 305"/>
                <a:gd name="T8" fmla="*/ 0 w 157"/>
                <a:gd name="T9" fmla="*/ 41 h 305"/>
                <a:gd name="T10" fmla="*/ 0 w 157"/>
                <a:gd name="T11" fmla="*/ 128 h 305"/>
                <a:gd name="T12" fmla="*/ 13 w 157"/>
                <a:gd name="T13" fmla="*/ 141 h 305"/>
                <a:gd name="T14" fmla="*/ 25 w 157"/>
                <a:gd name="T15" fmla="*/ 128 h 305"/>
                <a:gd name="T16" fmla="*/ 25 w 157"/>
                <a:gd name="T17" fmla="*/ 44 h 305"/>
                <a:gd name="T18" fmla="*/ 38 w 157"/>
                <a:gd name="T19" fmla="*/ 44 h 305"/>
                <a:gd name="T20" fmla="*/ 38 w 157"/>
                <a:gd name="T21" fmla="*/ 132 h 305"/>
                <a:gd name="T22" fmla="*/ 38 w 157"/>
                <a:gd name="T23" fmla="*/ 145 h 305"/>
                <a:gd name="T24" fmla="*/ 38 w 157"/>
                <a:gd name="T25" fmla="*/ 286 h 305"/>
                <a:gd name="T26" fmla="*/ 54 w 157"/>
                <a:gd name="T27" fmla="*/ 305 h 305"/>
                <a:gd name="T28" fmla="*/ 71 w 157"/>
                <a:gd name="T29" fmla="*/ 286 h 305"/>
                <a:gd name="T30" fmla="*/ 71 w 157"/>
                <a:gd name="T31" fmla="*/ 145 h 305"/>
                <a:gd name="T32" fmla="*/ 87 w 157"/>
                <a:gd name="T33" fmla="*/ 145 h 305"/>
                <a:gd name="T34" fmla="*/ 87 w 157"/>
                <a:gd name="T35" fmla="*/ 286 h 305"/>
                <a:gd name="T36" fmla="*/ 104 w 157"/>
                <a:gd name="T37" fmla="*/ 305 h 305"/>
                <a:gd name="T38" fmla="*/ 120 w 157"/>
                <a:gd name="T39" fmla="*/ 286 h 305"/>
                <a:gd name="T40" fmla="*/ 120 w 157"/>
                <a:gd name="T41" fmla="*/ 145 h 305"/>
                <a:gd name="T42" fmla="*/ 120 w 157"/>
                <a:gd name="T43" fmla="*/ 132 h 305"/>
                <a:gd name="T44" fmla="*/ 120 w 157"/>
                <a:gd name="T45" fmla="*/ 44 h 305"/>
                <a:gd name="T46" fmla="*/ 133 w 157"/>
                <a:gd name="T47" fmla="*/ 44 h 305"/>
                <a:gd name="T48" fmla="*/ 133 w 157"/>
                <a:gd name="T49" fmla="*/ 128 h 305"/>
                <a:gd name="T50" fmla="*/ 145 w 157"/>
                <a:gd name="T51" fmla="*/ 141 h 305"/>
                <a:gd name="T52" fmla="*/ 157 w 157"/>
                <a:gd name="T53" fmla="*/ 128 h 305"/>
                <a:gd name="T54" fmla="*/ 157 w 157"/>
                <a:gd name="T55" fmla="*/ 41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57" h="305">
                  <a:moveTo>
                    <a:pt x="157" y="41"/>
                  </a:moveTo>
                  <a:cubicBezTo>
                    <a:pt x="157" y="18"/>
                    <a:pt x="138" y="0"/>
                    <a:pt x="11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20" y="0"/>
                    <a:pt x="1" y="18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5"/>
                    <a:pt x="6" y="141"/>
                    <a:pt x="13" y="141"/>
                  </a:cubicBezTo>
                  <a:cubicBezTo>
                    <a:pt x="20" y="141"/>
                    <a:pt x="25" y="135"/>
                    <a:pt x="25" y="128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45"/>
                    <a:pt x="38" y="145"/>
                    <a:pt x="38" y="145"/>
                  </a:cubicBezTo>
                  <a:cubicBezTo>
                    <a:pt x="38" y="286"/>
                    <a:pt x="38" y="286"/>
                    <a:pt x="38" y="286"/>
                  </a:cubicBezTo>
                  <a:cubicBezTo>
                    <a:pt x="38" y="297"/>
                    <a:pt x="45" y="305"/>
                    <a:pt x="54" y="305"/>
                  </a:cubicBezTo>
                  <a:cubicBezTo>
                    <a:pt x="64" y="305"/>
                    <a:pt x="71" y="297"/>
                    <a:pt x="71" y="286"/>
                  </a:cubicBezTo>
                  <a:cubicBezTo>
                    <a:pt x="71" y="145"/>
                    <a:pt x="71" y="145"/>
                    <a:pt x="71" y="145"/>
                  </a:cubicBezTo>
                  <a:cubicBezTo>
                    <a:pt x="87" y="145"/>
                    <a:pt x="87" y="145"/>
                    <a:pt x="87" y="145"/>
                  </a:cubicBezTo>
                  <a:cubicBezTo>
                    <a:pt x="87" y="286"/>
                    <a:pt x="87" y="286"/>
                    <a:pt x="87" y="286"/>
                  </a:cubicBezTo>
                  <a:cubicBezTo>
                    <a:pt x="87" y="297"/>
                    <a:pt x="94" y="305"/>
                    <a:pt x="104" y="305"/>
                  </a:cubicBezTo>
                  <a:cubicBezTo>
                    <a:pt x="113" y="305"/>
                    <a:pt x="120" y="297"/>
                    <a:pt x="120" y="286"/>
                  </a:cubicBezTo>
                  <a:cubicBezTo>
                    <a:pt x="120" y="145"/>
                    <a:pt x="120" y="145"/>
                    <a:pt x="120" y="145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33" y="44"/>
                    <a:pt x="133" y="44"/>
                    <a:pt x="133" y="44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33" y="135"/>
                    <a:pt x="138" y="141"/>
                    <a:pt x="145" y="141"/>
                  </a:cubicBezTo>
                  <a:cubicBezTo>
                    <a:pt x="152" y="141"/>
                    <a:pt x="157" y="135"/>
                    <a:pt x="157" y="128"/>
                  </a:cubicBezTo>
                  <a:cubicBezTo>
                    <a:pt x="157" y="41"/>
                    <a:pt x="157" y="41"/>
                    <a:pt x="157" y="41"/>
                  </a:cubicBezTo>
                  <a:close/>
                </a:path>
              </a:pathLst>
            </a:custGeom>
            <a:solidFill>
              <a:srgbClr val="69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30" name="Freeform 10"/>
            <p:cNvSpPr>
              <a:spLocks/>
            </p:cNvSpPr>
            <p:nvPr userDrawn="1"/>
          </p:nvSpPr>
          <p:spPr bwMode="auto">
            <a:xfrm>
              <a:off x="4434056" y="1417637"/>
              <a:ext cx="211138" cy="387350"/>
            </a:xfrm>
            <a:custGeom>
              <a:avLst/>
              <a:gdLst>
                <a:gd name="T0" fmla="*/ 168 w 169"/>
                <a:gd name="T1" fmla="*/ 137 h 309"/>
                <a:gd name="T2" fmla="*/ 155 w 169"/>
                <a:gd name="T3" fmla="*/ 41 h 309"/>
                <a:gd name="T4" fmla="*/ 155 w 169"/>
                <a:gd name="T5" fmla="*/ 41 h 309"/>
                <a:gd name="T6" fmla="*/ 154 w 169"/>
                <a:gd name="T7" fmla="*/ 38 h 309"/>
                <a:gd name="T8" fmla="*/ 154 w 169"/>
                <a:gd name="T9" fmla="*/ 36 h 309"/>
                <a:gd name="T10" fmla="*/ 152 w 169"/>
                <a:gd name="T11" fmla="*/ 26 h 309"/>
                <a:gd name="T12" fmla="*/ 152 w 169"/>
                <a:gd name="T13" fmla="*/ 26 h 309"/>
                <a:gd name="T14" fmla="*/ 152 w 169"/>
                <a:gd name="T15" fmla="*/ 26 h 309"/>
                <a:gd name="T16" fmla="*/ 118 w 169"/>
                <a:gd name="T17" fmla="*/ 0 h 309"/>
                <a:gd name="T18" fmla="*/ 50 w 169"/>
                <a:gd name="T19" fmla="*/ 0 h 309"/>
                <a:gd name="T20" fmla="*/ 16 w 169"/>
                <a:gd name="T21" fmla="*/ 26 h 309"/>
                <a:gd name="T22" fmla="*/ 16 w 169"/>
                <a:gd name="T23" fmla="*/ 26 h 309"/>
                <a:gd name="T24" fmla="*/ 16 w 169"/>
                <a:gd name="T25" fmla="*/ 26 h 309"/>
                <a:gd name="T26" fmla="*/ 15 w 169"/>
                <a:gd name="T27" fmla="*/ 36 h 309"/>
                <a:gd name="T28" fmla="*/ 15 w 169"/>
                <a:gd name="T29" fmla="*/ 38 h 309"/>
                <a:gd name="T30" fmla="*/ 14 w 169"/>
                <a:gd name="T31" fmla="*/ 41 h 309"/>
                <a:gd name="T32" fmla="*/ 14 w 169"/>
                <a:gd name="T33" fmla="*/ 41 h 309"/>
                <a:gd name="T34" fmla="*/ 1 w 169"/>
                <a:gd name="T35" fmla="*/ 137 h 309"/>
                <a:gd name="T36" fmla="*/ 11 w 169"/>
                <a:gd name="T37" fmla="*/ 150 h 309"/>
                <a:gd name="T38" fmla="*/ 24 w 169"/>
                <a:gd name="T39" fmla="*/ 140 h 309"/>
                <a:gd name="T40" fmla="*/ 38 w 169"/>
                <a:gd name="T41" fmla="*/ 42 h 309"/>
                <a:gd name="T42" fmla="*/ 49 w 169"/>
                <a:gd name="T43" fmla="*/ 42 h 309"/>
                <a:gd name="T44" fmla="*/ 31 w 169"/>
                <a:gd name="T45" fmla="*/ 179 h 309"/>
                <a:gd name="T46" fmla="*/ 45 w 169"/>
                <a:gd name="T47" fmla="*/ 179 h 309"/>
                <a:gd name="T48" fmla="*/ 45 w 169"/>
                <a:gd name="T49" fmla="*/ 291 h 309"/>
                <a:gd name="T50" fmla="*/ 61 w 169"/>
                <a:gd name="T51" fmla="*/ 309 h 309"/>
                <a:gd name="T52" fmla="*/ 61 w 169"/>
                <a:gd name="T53" fmla="*/ 309 h 309"/>
                <a:gd name="T54" fmla="*/ 61 w 169"/>
                <a:gd name="T55" fmla="*/ 309 h 309"/>
                <a:gd name="T56" fmla="*/ 77 w 169"/>
                <a:gd name="T57" fmla="*/ 291 h 309"/>
                <a:gd name="T58" fmla="*/ 77 w 169"/>
                <a:gd name="T59" fmla="*/ 179 h 309"/>
                <a:gd name="T60" fmla="*/ 92 w 169"/>
                <a:gd name="T61" fmla="*/ 179 h 309"/>
                <a:gd name="T62" fmla="*/ 92 w 169"/>
                <a:gd name="T63" fmla="*/ 291 h 309"/>
                <a:gd name="T64" fmla="*/ 108 w 169"/>
                <a:gd name="T65" fmla="*/ 309 h 309"/>
                <a:gd name="T66" fmla="*/ 108 w 169"/>
                <a:gd name="T67" fmla="*/ 309 h 309"/>
                <a:gd name="T68" fmla="*/ 108 w 169"/>
                <a:gd name="T69" fmla="*/ 309 h 309"/>
                <a:gd name="T70" fmla="*/ 124 w 169"/>
                <a:gd name="T71" fmla="*/ 291 h 309"/>
                <a:gd name="T72" fmla="*/ 124 w 169"/>
                <a:gd name="T73" fmla="*/ 179 h 309"/>
                <a:gd name="T74" fmla="*/ 138 w 169"/>
                <a:gd name="T75" fmla="*/ 179 h 309"/>
                <a:gd name="T76" fmla="*/ 120 w 169"/>
                <a:gd name="T77" fmla="*/ 43 h 309"/>
                <a:gd name="T78" fmla="*/ 120 w 169"/>
                <a:gd name="T79" fmla="*/ 42 h 309"/>
                <a:gd name="T80" fmla="*/ 131 w 169"/>
                <a:gd name="T81" fmla="*/ 42 h 309"/>
                <a:gd name="T82" fmla="*/ 145 w 169"/>
                <a:gd name="T83" fmla="*/ 140 h 309"/>
                <a:gd name="T84" fmla="*/ 158 w 169"/>
                <a:gd name="T85" fmla="*/ 150 h 309"/>
                <a:gd name="T86" fmla="*/ 168 w 169"/>
                <a:gd name="T87" fmla="*/ 1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9" h="309">
                  <a:moveTo>
                    <a:pt x="168" y="137"/>
                  </a:moveTo>
                  <a:cubicBezTo>
                    <a:pt x="155" y="41"/>
                    <a:pt x="155" y="41"/>
                    <a:pt x="155" y="41"/>
                  </a:cubicBezTo>
                  <a:cubicBezTo>
                    <a:pt x="155" y="41"/>
                    <a:pt x="155" y="41"/>
                    <a:pt x="155" y="41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6"/>
                    <a:pt x="154" y="36"/>
                    <a:pt x="154" y="36"/>
                  </a:cubicBezTo>
                  <a:cubicBezTo>
                    <a:pt x="154" y="33"/>
                    <a:pt x="153" y="29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48" y="11"/>
                    <a:pt x="135" y="1"/>
                    <a:pt x="118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4" y="1"/>
                    <a:pt x="21" y="11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9"/>
                    <a:pt x="15" y="33"/>
                    <a:pt x="15" y="36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43"/>
                    <a:pt x="4" y="149"/>
                    <a:pt x="11" y="150"/>
                  </a:cubicBezTo>
                  <a:cubicBezTo>
                    <a:pt x="17" y="151"/>
                    <a:pt x="23" y="147"/>
                    <a:pt x="24" y="140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31" y="179"/>
                    <a:pt x="31" y="179"/>
                    <a:pt x="3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45" y="301"/>
                    <a:pt x="52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70" y="309"/>
                    <a:pt x="77" y="301"/>
                    <a:pt x="77" y="291"/>
                  </a:cubicBezTo>
                  <a:cubicBezTo>
                    <a:pt x="77" y="179"/>
                    <a:pt x="77" y="179"/>
                    <a:pt x="77" y="179"/>
                  </a:cubicBezTo>
                  <a:cubicBezTo>
                    <a:pt x="92" y="179"/>
                    <a:pt x="92" y="179"/>
                    <a:pt x="92" y="179"/>
                  </a:cubicBezTo>
                  <a:cubicBezTo>
                    <a:pt x="92" y="291"/>
                    <a:pt x="92" y="291"/>
                    <a:pt x="92" y="291"/>
                  </a:cubicBezTo>
                  <a:cubicBezTo>
                    <a:pt x="92" y="301"/>
                    <a:pt x="99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17" y="309"/>
                    <a:pt x="124" y="301"/>
                    <a:pt x="124" y="291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38" y="179"/>
                    <a:pt x="138" y="179"/>
                    <a:pt x="138" y="179"/>
                  </a:cubicBezTo>
                  <a:cubicBezTo>
                    <a:pt x="120" y="43"/>
                    <a:pt x="120" y="43"/>
                    <a:pt x="120" y="43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7"/>
                    <a:pt x="152" y="151"/>
                    <a:pt x="158" y="150"/>
                  </a:cubicBezTo>
                  <a:cubicBezTo>
                    <a:pt x="164" y="149"/>
                    <a:pt x="169" y="143"/>
                    <a:pt x="168" y="137"/>
                  </a:cubicBezTo>
                </a:path>
              </a:pathLst>
            </a:custGeom>
            <a:solidFill>
              <a:srgbClr val="AC29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4497556" y="1322387"/>
              <a:ext cx="85725" cy="88900"/>
            </a:xfrm>
            <a:custGeom>
              <a:avLst/>
              <a:gdLst>
                <a:gd name="T0" fmla="*/ 34 w 69"/>
                <a:gd name="T1" fmla="*/ 70 h 70"/>
                <a:gd name="T2" fmla="*/ 34 w 69"/>
                <a:gd name="T3" fmla="*/ 70 h 70"/>
                <a:gd name="T4" fmla="*/ 34 w 69"/>
                <a:gd name="T5" fmla="*/ 70 h 70"/>
                <a:gd name="T6" fmla="*/ 69 w 69"/>
                <a:gd name="T7" fmla="*/ 35 h 70"/>
                <a:gd name="T8" fmla="*/ 34 w 69"/>
                <a:gd name="T9" fmla="*/ 0 h 70"/>
                <a:gd name="T10" fmla="*/ 34 w 69"/>
                <a:gd name="T11" fmla="*/ 0 h 70"/>
                <a:gd name="T12" fmla="*/ 34 w 69"/>
                <a:gd name="T13" fmla="*/ 0 h 70"/>
                <a:gd name="T14" fmla="*/ 0 w 69"/>
                <a:gd name="T15" fmla="*/ 35 h 70"/>
                <a:gd name="T16" fmla="*/ 34 w 69"/>
                <a:gd name="T1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70">
                  <a:moveTo>
                    <a:pt x="34" y="70"/>
                  </a:moveTo>
                  <a:cubicBezTo>
                    <a:pt x="34" y="70"/>
                    <a:pt x="34" y="70"/>
                    <a:pt x="34" y="70"/>
                  </a:cubicBezTo>
                  <a:cubicBezTo>
                    <a:pt x="34" y="70"/>
                    <a:pt x="34" y="70"/>
                    <a:pt x="34" y="70"/>
                  </a:cubicBezTo>
                  <a:cubicBezTo>
                    <a:pt x="54" y="70"/>
                    <a:pt x="69" y="54"/>
                    <a:pt x="69" y="35"/>
                  </a:cubicBezTo>
                  <a:cubicBezTo>
                    <a:pt x="69" y="16"/>
                    <a:pt x="5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4"/>
                    <a:pt x="15" y="70"/>
                    <a:pt x="34" y="70"/>
                  </a:cubicBezTo>
                </a:path>
              </a:pathLst>
            </a:custGeom>
            <a:solidFill>
              <a:srgbClr val="AC29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32" name="Freeform 12"/>
            <p:cNvSpPr>
              <a:spLocks/>
            </p:cNvSpPr>
            <p:nvPr userDrawn="1"/>
          </p:nvSpPr>
          <p:spPr bwMode="auto">
            <a:xfrm>
              <a:off x="4008606" y="1417637"/>
              <a:ext cx="211138" cy="387350"/>
            </a:xfrm>
            <a:custGeom>
              <a:avLst/>
              <a:gdLst>
                <a:gd name="T0" fmla="*/ 168 w 169"/>
                <a:gd name="T1" fmla="*/ 137 h 309"/>
                <a:gd name="T2" fmla="*/ 155 w 169"/>
                <a:gd name="T3" fmla="*/ 41 h 309"/>
                <a:gd name="T4" fmla="*/ 155 w 169"/>
                <a:gd name="T5" fmla="*/ 41 h 309"/>
                <a:gd name="T6" fmla="*/ 154 w 169"/>
                <a:gd name="T7" fmla="*/ 38 h 309"/>
                <a:gd name="T8" fmla="*/ 154 w 169"/>
                <a:gd name="T9" fmla="*/ 36 h 309"/>
                <a:gd name="T10" fmla="*/ 153 w 169"/>
                <a:gd name="T11" fmla="*/ 26 h 309"/>
                <a:gd name="T12" fmla="*/ 152 w 169"/>
                <a:gd name="T13" fmla="*/ 26 h 309"/>
                <a:gd name="T14" fmla="*/ 152 w 169"/>
                <a:gd name="T15" fmla="*/ 26 h 309"/>
                <a:gd name="T16" fmla="*/ 119 w 169"/>
                <a:gd name="T17" fmla="*/ 0 h 309"/>
                <a:gd name="T18" fmla="*/ 50 w 169"/>
                <a:gd name="T19" fmla="*/ 0 h 309"/>
                <a:gd name="T20" fmla="*/ 16 w 169"/>
                <a:gd name="T21" fmla="*/ 26 h 309"/>
                <a:gd name="T22" fmla="*/ 16 w 169"/>
                <a:gd name="T23" fmla="*/ 26 h 309"/>
                <a:gd name="T24" fmla="*/ 16 w 169"/>
                <a:gd name="T25" fmla="*/ 26 h 309"/>
                <a:gd name="T26" fmla="*/ 15 w 169"/>
                <a:gd name="T27" fmla="*/ 36 h 309"/>
                <a:gd name="T28" fmla="*/ 15 w 169"/>
                <a:gd name="T29" fmla="*/ 38 h 309"/>
                <a:gd name="T30" fmla="*/ 14 w 169"/>
                <a:gd name="T31" fmla="*/ 41 h 309"/>
                <a:gd name="T32" fmla="*/ 14 w 169"/>
                <a:gd name="T33" fmla="*/ 41 h 309"/>
                <a:gd name="T34" fmla="*/ 1 w 169"/>
                <a:gd name="T35" fmla="*/ 137 h 309"/>
                <a:gd name="T36" fmla="*/ 11 w 169"/>
                <a:gd name="T37" fmla="*/ 150 h 309"/>
                <a:gd name="T38" fmla="*/ 24 w 169"/>
                <a:gd name="T39" fmla="*/ 140 h 309"/>
                <a:gd name="T40" fmla="*/ 38 w 169"/>
                <a:gd name="T41" fmla="*/ 42 h 309"/>
                <a:gd name="T42" fmla="*/ 49 w 169"/>
                <a:gd name="T43" fmla="*/ 42 h 309"/>
                <a:gd name="T44" fmla="*/ 31 w 169"/>
                <a:gd name="T45" fmla="*/ 179 h 309"/>
                <a:gd name="T46" fmla="*/ 45 w 169"/>
                <a:gd name="T47" fmla="*/ 179 h 309"/>
                <a:gd name="T48" fmla="*/ 45 w 169"/>
                <a:gd name="T49" fmla="*/ 291 h 309"/>
                <a:gd name="T50" fmla="*/ 61 w 169"/>
                <a:gd name="T51" fmla="*/ 309 h 309"/>
                <a:gd name="T52" fmla="*/ 61 w 169"/>
                <a:gd name="T53" fmla="*/ 309 h 309"/>
                <a:gd name="T54" fmla="*/ 61 w 169"/>
                <a:gd name="T55" fmla="*/ 309 h 309"/>
                <a:gd name="T56" fmla="*/ 77 w 169"/>
                <a:gd name="T57" fmla="*/ 291 h 309"/>
                <a:gd name="T58" fmla="*/ 77 w 169"/>
                <a:gd name="T59" fmla="*/ 179 h 309"/>
                <a:gd name="T60" fmla="*/ 92 w 169"/>
                <a:gd name="T61" fmla="*/ 179 h 309"/>
                <a:gd name="T62" fmla="*/ 92 w 169"/>
                <a:gd name="T63" fmla="*/ 291 h 309"/>
                <a:gd name="T64" fmla="*/ 108 w 169"/>
                <a:gd name="T65" fmla="*/ 309 h 309"/>
                <a:gd name="T66" fmla="*/ 108 w 169"/>
                <a:gd name="T67" fmla="*/ 309 h 309"/>
                <a:gd name="T68" fmla="*/ 108 w 169"/>
                <a:gd name="T69" fmla="*/ 309 h 309"/>
                <a:gd name="T70" fmla="*/ 124 w 169"/>
                <a:gd name="T71" fmla="*/ 291 h 309"/>
                <a:gd name="T72" fmla="*/ 124 w 169"/>
                <a:gd name="T73" fmla="*/ 179 h 309"/>
                <a:gd name="T74" fmla="*/ 138 w 169"/>
                <a:gd name="T75" fmla="*/ 179 h 309"/>
                <a:gd name="T76" fmla="*/ 120 w 169"/>
                <a:gd name="T77" fmla="*/ 43 h 309"/>
                <a:gd name="T78" fmla="*/ 120 w 169"/>
                <a:gd name="T79" fmla="*/ 42 h 309"/>
                <a:gd name="T80" fmla="*/ 131 w 169"/>
                <a:gd name="T81" fmla="*/ 42 h 309"/>
                <a:gd name="T82" fmla="*/ 145 w 169"/>
                <a:gd name="T83" fmla="*/ 140 h 309"/>
                <a:gd name="T84" fmla="*/ 158 w 169"/>
                <a:gd name="T85" fmla="*/ 150 h 309"/>
                <a:gd name="T86" fmla="*/ 168 w 169"/>
                <a:gd name="T87" fmla="*/ 1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9" h="309">
                  <a:moveTo>
                    <a:pt x="168" y="137"/>
                  </a:moveTo>
                  <a:cubicBezTo>
                    <a:pt x="155" y="41"/>
                    <a:pt x="155" y="41"/>
                    <a:pt x="155" y="41"/>
                  </a:cubicBezTo>
                  <a:cubicBezTo>
                    <a:pt x="155" y="41"/>
                    <a:pt x="155" y="41"/>
                    <a:pt x="155" y="41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6"/>
                    <a:pt x="154" y="36"/>
                    <a:pt x="154" y="36"/>
                  </a:cubicBezTo>
                  <a:cubicBezTo>
                    <a:pt x="154" y="33"/>
                    <a:pt x="153" y="29"/>
                    <a:pt x="153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48" y="11"/>
                    <a:pt x="135" y="1"/>
                    <a:pt x="119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4" y="1"/>
                    <a:pt x="21" y="11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9"/>
                    <a:pt x="15" y="33"/>
                    <a:pt x="15" y="36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43"/>
                    <a:pt x="5" y="149"/>
                    <a:pt x="11" y="150"/>
                  </a:cubicBezTo>
                  <a:cubicBezTo>
                    <a:pt x="17" y="151"/>
                    <a:pt x="23" y="147"/>
                    <a:pt x="24" y="140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31" y="179"/>
                    <a:pt x="31" y="179"/>
                    <a:pt x="3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45" y="301"/>
                    <a:pt x="52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70" y="309"/>
                    <a:pt x="77" y="301"/>
                    <a:pt x="77" y="291"/>
                  </a:cubicBezTo>
                  <a:cubicBezTo>
                    <a:pt x="77" y="179"/>
                    <a:pt x="77" y="179"/>
                    <a:pt x="77" y="179"/>
                  </a:cubicBezTo>
                  <a:cubicBezTo>
                    <a:pt x="92" y="179"/>
                    <a:pt x="92" y="179"/>
                    <a:pt x="92" y="179"/>
                  </a:cubicBezTo>
                  <a:cubicBezTo>
                    <a:pt x="92" y="291"/>
                    <a:pt x="92" y="291"/>
                    <a:pt x="92" y="291"/>
                  </a:cubicBezTo>
                  <a:cubicBezTo>
                    <a:pt x="92" y="301"/>
                    <a:pt x="99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17" y="309"/>
                    <a:pt x="124" y="301"/>
                    <a:pt x="124" y="291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38" y="179"/>
                    <a:pt x="138" y="179"/>
                    <a:pt x="138" y="179"/>
                  </a:cubicBezTo>
                  <a:cubicBezTo>
                    <a:pt x="120" y="43"/>
                    <a:pt x="120" y="43"/>
                    <a:pt x="120" y="43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7"/>
                    <a:pt x="152" y="151"/>
                    <a:pt x="158" y="150"/>
                  </a:cubicBezTo>
                  <a:cubicBezTo>
                    <a:pt x="164" y="149"/>
                    <a:pt x="169" y="143"/>
                    <a:pt x="168" y="137"/>
                  </a:cubicBezTo>
                </a:path>
              </a:pathLst>
            </a:custGeom>
            <a:solidFill>
              <a:srgbClr val="EE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33" name="Freeform 13"/>
            <p:cNvSpPr>
              <a:spLocks/>
            </p:cNvSpPr>
            <p:nvPr userDrawn="1"/>
          </p:nvSpPr>
          <p:spPr bwMode="auto">
            <a:xfrm>
              <a:off x="4070518" y="1322387"/>
              <a:ext cx="85725" cy="88900"/>
            </a:xfrm>
            <a:custGeom>
              <a:avLst/>
              <a:gdLst>
                <a:gd name="T0" fmla="*/ 34 w 69"/>
                <a:gd name="T1" fmla="*/ 70 h 70"/>
                <a:gd name="T2" fmla="*/ 35 w 69"/>
                <a:gd name="T3" fmla="*/ 70 h 70"/>
                <a:gd name="T4" fmla="*/ 35 w 69"/>
                <a:gd name="T5" fmla="*/ 70 h 70"/>
                <a:gd name="T6" fmla="*/ 69 w 69"/>
                <a:gd name="T7" fmla="*/ 35 h 70"/>
                <a:gd name="T8" fmla="*/ 35 w 69"/>
                <a:gd name="T9" fmla="*/ 0 h 70"/>
                <a:gd name="T10" fmla="*/ 35 w 69"/>
                <a:gd name="T11" fmla="*/ 0 h 70"/>
                <a:gd name="T12" fmla="*/ 34 w 69"/>
                <a:gd name="T13" fmla="*/ 0 h 70"/>
                <a:gd name="T14" fmla="*/ 0 w 69"/>
                <a:gd name="T15" fmla="*/ 35 h 70"/>
                <a:gd name="T16" fmla="*/ 34 w 69"/>
                <a:gd name="T1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70">
                  <a:moveTo>
                    <a:pt x="34" y="70"/>
                  </a:moveTo>
                  <a:cubicBezTo>
                    <a:pt x="35" y="70"/>
                    <a:pt x="35" y="70"/>
                    <a:pt x="35" y="70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54" y="70"/>
                    <a:pt x="69" y="54"/>
                    <a:pt x="69" y="35"/>
                  </a:cubicBezTo>
                  <a:cubicBezTo>
                    <a:pt x="69" y="16"/>
                    <a:pt x="54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4"/>
                    <a:pt x="15" y="70"/>
                    <a:pt x="34" y="70"/>
                  </a:cubicBezTo>
                </a:path>
              </a:pathLst>
            </a:custGeom>
            <a:solidFill>
              <a:srgbClr val="EE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34" name="Freeform 14"/>
            <p:cNvSpPr>
              <a:spLocks/>
            </p:cNvSpPr>
            <p:nvPr userDrawn="1"/>
          </p:nvSpPr>
          <p:spPr bwMode="auto">
            <a:xfrm>
              <a:off x="1794043" y="2319337"/>
              <a:ext cx="604838" cy="808038"/>
            </a:xfrm>
            <a:custGeom>
              <a:avLst/>
              <a:gdLst>
                <a:gd name="T0" fmla="*/ 483 w 483"/>
                <a:gd name="T1" fmla="*/ 242 h 646"/>
                <a:gd name="T2" fmla="*/ 242 w 483"/>
                <a:gd name="T3" fmla="*/ 485 h 646"/>
                <a:gd name="T4" fmla="*/ 97 w 483"/>
                <a:gd name="T5" fmla="*/ 436 h 646"/>
                <a:gd name="T6" fmla="*/ 97 w 483"/>
                <a:gd name="T7" fmla="*/ 356 h 646"/>
                <a:gd name="T8" fmla="*/ 242 w 483"/>
                <a:gd name="T9" fmla="*/ 426 h 646"/>
                <a:gd name="T10" fmla="*/ 423 w 483"/>
                <a:gd name="T11" fmla="*/ 242 h 646"/>
                <a:gd name="T12" fmla="*/ 242 w 483"/>
                <a:gd name="T13" fmla="*/ 59 h 646"/>
                <a:gd name="T14" fmla="*/ 59 w 483"/>
                <a:gd name="T15" fmla="*/ 245 h 646"/>
                <a:gd name="T16" fmla="*/ 59 w 483"/>
                <a:gd name="T17" fmla="*/ 615 h 646"/>
                <a:gd name="T18" fmla="*/ 30 w 483"/>
                <a:gd name="T19" fmla="*/ 646 h 646"/>
                <a:gd name="T20" fmla="*/ 0 w 483"/>
                <a:gd name="T21" fmla="*/ 616 h 646"/>
                <a:gd name="T22" fmla="*/ 0 w 483"/>
                <a:gd name="T23" fmla="*/ 242 h 646"/>
                <a:gd name="T24" fmla="*/ 242 w 483"/>
                <a:gd name="T25" fmla="*/ 0 h 646"/>
                <a:gd name="T26" fmla="*/ 483 w 483"/>
                <a:gd name="T27" fmla="*/ 242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3" h="646">
                  <a:moveTo>
                    <a:pt x="483" y="242"/>
                  </a:moveTo>
                  <a:cubicBezTo>
                    <a:pt x="483" y="377"/>
                    <a:pt x="377" y="485"/>
                    <a:pt x="242" y="485"/>
                  </a:cubicBezTo>
                  <a:cubicBezTo>
                    <a:pt x="187" y="485"/>
                    <a:pt x="139" y="467"/>
                    <a:pt x="97" y="436"/>
                  </a:cubicBezTo>
                  <a:cubicBezTo>
                    <a:pt x="97" y="356"/>
                    <a:pt x="97" y="356"/>
                    <a:pt x="97" y="356"/>
                  </a:cubicBezTo>
                  <a:cubicBezTo>
                    <a:pt x="133" y="401"/>
                    <a:pt x="184" y="426"/>
                    <a:pt x="242" y="426"/>
                  </a:cubicBezTo>
                  <a:cubicBezTo>
                    <a:pt x="345" y="426"/>
                    <a:pt x="423" y="344"/>
                    <a:pt x="423" y="242"/>
                  </a:cubicBezTo>
                  <a:cubicBezTo>
                    <a:pt x="423" y="141"/>
                    <a:pt x="342" y="59"/>
                    <a:pt x="242" y="59"/>
                  </a:cubicBezTo>
                  <a:cubicBezTo>
                    <a:pt x="141" y="59"/>
                    <a:pt x="59" y="141"/>
                    <a:pt x="59" y="245"/>
                  </a:cubicBezTo>
                  <a:cubicBezTo>
                    <a:pt x="59" y="615"/>
                    <a:pt x="59" y="615"/>
                    <a:pt x="59" y="615"/>
                  </a:cubicBezTo>
                  <a:cubicBezTo>
                    <a:pt x="59" y="632"/>
                    <a:pt x="46" y="646"/>
                    <a:pt x="30" y="646"/>
                  </a:cubicBezTo>
                  <a:cubicBezTo>
                    <a:pt x="13" y="646"/>
                    <a:pt x="0" y="632"/>
                    <a:pt x="0" y="616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0" y="108"/>
                    <a:pt x="108" y="0"/>
                    <a:pt x="242" y="0"/>
                  </a:cubicBezTo>
                  <a:cubicBezTo>
                    <a:pt x="375" y="0"/>
                    <a:pt x="483" y="108"/>
                    <a:pt x="483" y="2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35" name="Freeform 15"/>
            <p:cNvSpPr>
              <a:spLocks noEditPoints="1"/>
            </p:cNvSpPr>
            <p:nvPr userDrawn="1"/>
          </p:nvSpPr>
          <p:spPr bwMode="auto">
            <a:xfrm>
              <a:off x="2454443" y="2319337"/>
              <a:ext cx="604838" cy="608013"/>
            </a:xfrm>
            <a:custGeom>
              <a:avLst/>
              <a:gdLst>
                <a:gd name="T0" fmla="*/ 241 w 483"/>
                <a:gd name="T1" fmla="*/ 0 h 485"/>
                <a:gd name="T2" fmla="*/ 483 w 483"/>
                <a:gd name="T3" fmla="*/ 242 h 485"/>
                <a:gd name="T4" fmla="*/ 241 w 483"/>
                <a:gd name="T5" fmla="*/ 485 h 485"/>
                <a:gd name="T6" fmla="*/ 0 w 483"/>
                <a:gd name="T7" fmla="*/ 242 h 485"/>
                <a:gd name="T8" fmla="*/ 241 w 483"/>
                <a:gd name="T9" fmla="*/ 0 h 485"/>
                <a:gd name="T10" fmla="*/ 241 w 483"/>
                <a:gd name="T11" fmla="*/ 426 h 485"/>
                <a:gd name="T12" fmla="*/ 425 w 483"/>
                <a:gd name="T13" fmla="*/ 242 h 485"/>
                <a:gd name="T14" fmla="*/ 241 w 483"/>
                <a:gd name="T15" fmla="*/ 58 h 485"/>
                <a:gd name="T16" fmla="*/ 59 w 483"/>
                <a:gd name="T17" fmla="*/ 242 h 485"/>
                <a:gd name="T18" fmla="*/ 241 w 483"/>
                <a:gd name="T19" fmla="*/ 42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3" h="485">
                  <a:moveTo>
                    <a:pt x="241" y="0"/>
                  </a:moveTo>
                  <a:cubicBezTo>
                    <a:pt x="376" y="0"/>
                    <a:pt x="483" y="108"/>
                    <a:pt x="483" y="242"/>
                  </a:cubicBezTo>
                  <a:cubicBezTo>
                    <a:pt x="483" y="377"/>
                    <a:pt x="376" y="485"/>
                    <a:pt x="241" y="485"/>
                  </a:cubicBezTo>
                  <a:cubicBezTo>
                    <a:pt x="107" y="485"/>
                    <a:pt x="0" y="377"/>
                    <a:pt x="0" y="242"/>
                  </a:cubicBezTo>
                  <a:cubicBezTo>
                    <a:pt x="0" y="108"/>
                    <a:pt x="107" y="0"/>
                    <a:pt x="241" y="0"/>
                  </a:cubicBezTo>
                  <a:close/>
                  <a:moveTo>
                    <a:pt x="241" y="426"/>
                  </a:moveTo>
                  <a:cubicBezTo>
                    <a:pt x="344" y="426"/>
                    <a:pt x="425" y="344"/>
                    <a:pt x="425" y="242"/>
                  </a:cubicBezTo>
                  <a:cubicBezTo>
                    <a:pt x="425" y="140"/>
                    <a:pt x="344" y="58"/>
                    <a:pt x="241" y="58"/>
                  </a:cubicBezTo>
                  <a:cubicBezTo>
                    <a:pt x="139" y="58"/>
                    <a:pt x="59" y="140"/>
                    <a:pt x="59" y="242"/>
                  </a:cubicBezTo>
                  <a:cubicBezTo>
                    <a:pt x="59" y="344"/>
                    <a:pt x="139" y="426"/>
                    <a:pt x="241" y="4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36" name="Freeform 16"/>
            <p:cNvSpPr>
              <a:spLocks/>
            </p:cNvSpPr>
            <p:nvPr userDrawn="1"/>
          </p:nvSpPr>
          <p:spPr bwMode="auto">
            <a:xfrm>
              <a:off x="3097381" y="2319337"/>
              <a:ext cx="365125" cy="608013"/>
            </a:xfrm>
            <a:custGeom>
              <a:avLst/>
              <a:gdLst>
                <a:gd name="T0" fmla="*/ 248 w 292"/>
                <a:gd name="T1" fmla="*/ 120 h 485"/>
                <a:gd name="T2" fmla="*/ 214 w 292"/>
                <a:gd name="T3" fmla="*/ 98 h 485"/>
                <a:gd name="T4" fmla="*/ 144 w 292"/>
                <a:gd name="T5" fmla="*/ 57 h 485"/>
                <a:gd name="T6" fmla="*/ 76 w 292"/>
                <a:gd name="T7" fmla="*/ 122 h 485"/>
                <a:gd name="T8" fmla="*/ 157 w 292"/>
                <a:gd name="T9" fmla="*/ 200 h 485"/>
                <a:gd name="T10" fmla="*/ 239 w 292"/>
                <a:gd name="T11" fmla="*/ 238 h 485"/>
                <a:gd name="T12" fmla="*/ 292 w 292"/>
                <a:gd name="T13" fmla="*/ 340 h 485"/>
                <a:gd name="T14" fmla="*/ 146 w 292"/>
                <a:gd name="T15" fmla="*/ 485 h 485"/>
                <a:gd name="T16" fmla="*/ 1 w 292"/>
                <a:gd name="T17" fmla="*/ 362 h 485"/>
                <a:gd name="T18" fmla="*/ 0 w 292"/>
                <a:gd name="T19" fmla="*/ 353 h 485"/>
                <a:gd name="T20" fmla="*/ 31 w 292"/>
                <a:gd name="T21" fmla="*/ 322 h 485"/>
                <a:gd name="T22" fmla="*/ 62 w 292"/>
                <a:gd name="T23" fmla="*/ 351 h 485"/>
                <a:gd name="T24" fmla="*/ 148 w 292"/>
                <a:gd name="T25" fmla="*/ 427 h 485"/>
                <a:gd name="T26" fmla="*/ 231 w 292"/>
                <a:gd name="T27" fmla="*/ 350 h 485"/>
                <a:gd name="T28" fmla="*/ 139 w 292"/>
                <a:gd name="T29" fmla="*/ 257 h 485"/>
                <a:gd name="T30" fmla="*/ 14 w 292"/>
                <a:gd name="T31" fmla="*/ 127 h 485"/>
                <a:gd name="T32" fmla="*/ 148 w 292"/>
                <a:gd name="T33" fmla="*/ 0 h 485"/>
                <a:gd name="T34" fmla="*/ 272 w 292"/>
                <a:gd name="T35" fmla="*/ 89 h 485"/>
                <a:gd name="T36" fmla="*/ 248 w 292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2" h="485">
                  <a:moveTo>
                    <a:pt x="248" y="120"/>
                  </a:moveTo>
                  <a:cubicBezTo>
                    <a:pt x="233" y="122"/>
                    <a:pt x="221" y="115"/>
                    <a:pt x="214" y="98"/>
                  </a:cubicBezTo>
                  <a:cubicBezTo>
                    <a:pt x="201" y="70"/>
                    <a:pt x="176" y="57"/>
                    <a:pt x="144" y="57"/>
                  </a:cubicBezTo>
                  <a:cubicBezTo>
                    <a:pt x="106" y="57"/>
                    <a:pt x="76" y="89"/>
                    <a:pt x="76" y="122"/>
                  </a:cubicBezTo>
                  <a:cubicBezTo>
                    <a:pt x="76" y="158"/>
                    <a:pt x="97" y="179"/>
                    <a:pt x="157" y="200"/>
                  </a:cubicBezTo>
                  <a:cubicBezTo>
                    <a:pt x="185" y="210"/>
                    <a:pt x="217" y="223"/>
                    <a:pt x="239" y="238"/>
                  </a:cubicBezTo>
                  <a:cubicBezTo>
                    <a:pt x="275" y="264"/>
                    <a:pt x="292" y="298"/>
                    <a:pt x="292" y="340"/>
                  </a:cubicBezTo>
                  <a:cubicBezTo>
                    <a:pt x="292" y="428"/>
                    <a:pt x="231" y="485"/>
                    <a:pt x="146" y="485"/>
                  </a:cubicBezTo>
                  <a:cubicBezTo>
                    <a:pt x="67" y="485"/>
                    <a:pt x="20" y="436"/>
                    <a:pt x="1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4" y="322"/>
                    <a:pt x="31" y="322"/>
                  </a:cubicBezTo>
                  <a:cubicBezTo>
                    <a:pt x="48" y="322"/>
                    <a:pt x="59" y="334"/>
                    <a:pt x="62" y="351"/>
                  </a:cubicBezTo>
                  <a:cubicBezTo>
                    <a:pt x="70" y="395"/>
                    <a:pt x="106" y="427"/>
                    <a:pt x="148" y="427"/>
                  </a:cubicBezTo>
                  <a:cubicBezTo>
                    <a:pt x="191" y="427"/>
                    <a:pt x="231" y="392"/>
                    <a:pt x="231" y="350"/>
                  </a:cubicBezTo>
                  <a:cubicBezTo>
                    <a:pt x="231" y="308"/>
                    <a:pt x="205" y="279"/>
                    <a:pt x="139" y="257"/>
                  </a:cubicBezTo>
                  <a:cubicBezTo>
                    <a:pt x="46" y="226"/>
                    <a:pt x="14" y="190"/>
                    <a:pt x="14" y="127"/>
                  </a:cubicBezTo>
                  <a:cubicBezTo>
                    <a:pt x="14" y="54"/>
                    <a:pt x="72" y="0"/>
                    <a:pt x="148" y="0"/>
                  </a:cubicBezTo>
                  <a:cubicBezTo>
                    <a:pt x="215" y="0"/>
                    <a:pt x="272" y="47"/>
                    <a:pt x="272" y="89"/>
                  </a:cubicBezTo>
                  <a:cubicBezTo>
                    <a:pt x="272" y="103"/>
                    <a:pt x="266" y="117"/>
                    <a:pt x="248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37" name="Freeform 17"/>
            <p:cNvSpPr>
              <a:spLocks/>
            </p:cNvSpPr>
            <p:nvPr userDrawn="1"/>
          </p:nvSpPr>
          <p:spPr bwMode="auto">
            <a:xfrm>
              <a:off x="3518068" y="2319337"/>
              <a:ext cx="363538" cy="608013"/>
            </a:xfrm>
            <a:custGeom>
              <a:avLst/>
              <a:gdLst>
                <a:gd name="T0" fmla="*/ 248 w 291"/>
                <a:gd name="T1" fmla="*/ 120 h 485"/>
                <a:gd name="T2" fmla="*/ 213 w 291"/>
                <a:gd name="T3" fmla="*/ 98 h 485"/>
                <a:gd name="T4" fmla="*/ 143 w 291"/>
                <a:gd name="T5" fmla="*/ 57 h 485"/>
                <a:gd name="T6" fmla="*/ 75 w 291"/>
                <a:gd name="T7" fmla="*/ 122 h 485"/>
                <a:gd name="T8" fmla="*/ 156 w 291"/>
                <a:gd name="T9" fmla="*/ 200 h 485"/>
                <a:gd name="T10" fmla="*/ 238 w 291"/>
                <a:gd name="T11" fmla="*/ 238 h 485"/>
                <a:gd name="T12" fmla="*/ 291 w 291"/>
                <a:gd name="T13" fmla="*/ 340 h 485"/>
                <a:gd name="T14" fmla="*/ 145 w 291"/>
                <a:gd name="T15" fmla="*/ 485 h 485"/>
                <a:gd name="T16" fmla="*/ 1 w 291"/>
                <a:gd name="T17" fmla="*/ 362 h 485"/>
                <a:gd name="T18" fmla="*/ 0 w 291"/>
                <a:gd name="T19" fmla="*/ 353 h 485"/>
                <a:gd name="T20" fmla="*/ 30 w 291"/>
                <a:gd name="T21" fmla="*/ 322 h 485"/>
                <a:gd name="T22" fmla="*/ 62 w 291"/>
                <a:gd name="T23" fmla="*/ 351 h 485"/>
                <a:gd name="T24" fmla="*/ 147 w 291"/>
                <a:gd name="T25" fmla="*/ 427 h 485"/>
                <a:gd name="T26" fmla="*/ 230 w 291"/>
                <a:gd name="T27" fmla="*/ 350 h 485"/>
                <a:gd name="T28" fmla="*/ 138 w 291"/>
                <a:gd name="T29" fmla="*/ 257 h 485"/>
                <a:gd name="T30" fmla="*/ 13 w 291"/>
                <a:gd name="T31" fmla="*/ 127 h 485"/>
                <a:gd name="T32" fmla="*/ 147 w 291"/>
                <a:gd name="T33" fmla="*/ 0 h 485"/>
                <a:gd name="T34" fmla="*/ 272 w 291"/>
                <a:gd name="T35" fmla="*/ 89 h 485"/>
                <a:gd name="T36" fmla="*/ 248 w 291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1" h="485">
                  <a:moveTo>
                    <a:pt x="248" y="120"/>
                  </a:moveTo>
                  <a:cubicBezTo>
                    <a:pt x="232" y="122"/>
                    <a:pt x="221" y="115"/>
                    <a:pt x="213" y="98"/>
                  </a:cubicBezTo>
                  <a:cubicBezTo>
                    <a:pt x="201" y="70"/>
                    <a:pt x="176" y="57"/>
                    <a:pt x="143" y="57"/>
                  </a:cubicBezTo>
                  <a:cubicBezTo>
                    <a:pt x="105" y="57"/>
                    <a:pt x="75" y="89"/>
                    <a:pt x="75" y="122"/>
                  </a:cubicBezTo>
                  <a:cubicBezTo>
                    <a:pt x="75" y="158"/>
                    <a:pt x="96" y="179"/>
                    <a:pt x="156" y="200"/>
                  </a:cubicBezTo>
                  <a:cubicBezTo>
                    <a:pt x="184" y="210"/>
                    <a:pt x="217" y="223"/>
                    <a:pt x="238" y="238"/>
                  </a:cubicBezTo>
                  <a:cubicBezTo>
                    <a:pt x="274" y="264"/>
                    <a:pt x="291" y="298"/>
                    <a:pt x="291" y="340"/>
                  </a:cubicBezTo>
                  <a:cubicBezTo>
                    <a:pt x="291" y="428"/>
                    <a:pt x="231" y="485"/>
                    <a:pt x="145" y="485"/>
                  </a:cubicBezTo>
                  <a:cubicBezTo>
                    <a:pt x="67" y="485"/>
                    <a:pt x="19" y="436"/>
                    <a:pt x="1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3" y="322"/>
                    <a:pt x="30" y="322"/>
                  </a:cubicBezTo>
                  <a:cubicBezTo>
                    <a:pt x="48" y="322"/>
                    <a:pt x="58" y="334"/>
                    <a:pt x="62" y="351"/>
                  </a:cubicBezTo>
                  <a:cubicBezTo>
                    <a:pt x="69" y="395"/>
                    <a:pt x="105" y="427"/>
                    <a:pt x="147" y="427"/>
                  </a:cubicBezTo>
                  <a:cubicBezTo>
                    <a:pt x="191" y="427"/>
                    <a:pt x="230" y="392"/>
                    <a:pt x="230" y="350"/>
                  </a:cubicBezTo>
                  <a:cubicBezTo>
                    <a:pt x="230" y="308"/>
                    <a:pt x="204" y="279"/>
                    <a:pt x="138" y="257"/>
                  </a:cubicBezTo>
                  <a:cubicBezTo>
                    <a:pt x="46" y="226"/>
                    <a:pt x="13" y="190"/>
                    <a:pt x="13" y="127"/>
                  </a:cubicBezTo>
                  <a:cubicBezTo>
                    <a:pt x="13" y="54"/>
                    <a:pt x="71" y="0"/>
                    <a:pt x="147" y="0"/>
                  </a:cubicBezTo>
                  <a:cubicBezTo>
                    <a:pt x="215" y="0"/>
                    <a:pt x="272" y="47"/>
                    <a:pt x="272" y="89"/>
                  </a:cubicBezTo>
                  <a:cubicBezTo>
                    <a:pt x="272" y="103"/>
                    <a:pt x="265" y="117"/>
                    <a:pt x="248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38" name="Freeform 18"/>
            <p:cNvSpPr>
              <a:spLocks noEditPoints="1"/>
            </p:cNvSpPr>
            <p:nvPr userDrawn="1"/>
          </p:nvSpPr>
          <p:spPr bwMode="auto">
            <a:xfrm>
              <a:off x="3949868" y="2160587"/>
              <a:ext cx="104775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9" y="83"/>
                    <a:pt x="0" y="6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39" name="Freeform 19"/>
            <p:cNvSpPr>
              <a:spLocks noEditPoints="1"/>
            </p:cNvSpPr>
            <p:nvPr userDrawn="1"/>
          </p:nvSpPr>
          <p:spPr bwMode="auto">
            <a:xfrm>
              <a:off x="3953043" y="1806574"/>
              <a:ext cx="790575" cy="1120775"/>
            </a:xfrm>
            <a:custGeom>
              <a:avLst/>
              <a:gdLst>
                <a:gd name="T0" fmla="*/ 391 w 632"/>
                <a:gd name="T1" fmla="*/ 410 h 895"/>
                <a:gd name="T2" fmla="*/ 247 w 632"/>
                <a:gd name="T3" fmla="*/ 454 h 895"/>
                <a:gd name="T4" fmla="*/ 247 w 632"/>
                <a:gd name="T5" fmla="*/ 534 h 895"/>
                <a:gd name="T6" fmla="*/ 391 w 632"/>
                <a:gd name="T7" fmla="*/ 468 h 895"/>
                <a:gd name="T8" fmla="*/ 571 w 632"/>
                <a:gd name="T9" fmla="*/ 652 h 895"/>
                <a:gd name="T10" fmla="*/ 391 w 632"/>
                <a:gd name="T11" fmla="*/ 836 h 895"/>
                <a:gd name="T12" fmla="*/ 209 w 632"/>
                <a:gd name="T13" fmla="*/ 650 h 895"/>
                <a:gd name="T14" fmla="*/ 209 w 632"/>
                <a:gd name="T15" fmla="*/ 83 h 895"/>
                <a:gd name="T16" fmla="*/ 554 w 632"/>
                <a:gd name="T17" fmla="*/ 83 h 895"/>
                <a:gd name="T18" fmla="*/ 596 w 632"/>
                <a:gd name="T19" fmla="*/ 42 h 895"/>
                <a:gd name="T20" fmla="*/ 554 w 632"/>
                <a:gd name="T21" fmla="*/ 0 h 895"/>
                <a:gd name="T22" fmla="*/ 41 w 632"/>
                <a:gd name="T23" fmla="*/ 0 h 895"/>
                <a:gd name="T24" fmla="*/ 0 w 632"/>
                <a:gd name="T25" fmla="*/ 42 h 895"/>
                <a:gd name="T26" fmla="*/ 41 w 632"/>
                <a:gd name="T27" fmla="*/ 83 h 895"/>
                <a:gd name="T28" fmla="*/ 150 w 632"/>
                <a:gd name="T29" fmla="*/ 83 h 895"/>
                <a:gd name="T30" fmla="*/ 150 w 632"/>
                <a:gd name="T31" fmla="*/ 652 h 895"/>
                <a:gd name="T32" fmla="*/ 391 w 632"/>
                <a:gd name="T33" fmla="*/ 895 h 895"/>
                <a:gd name="T34" fmla="*/ 632 w 632"/>
                <a:gd name="T35" fmla="*/ 652 h 895"/>
                <a:gd name="T36" fmla="*/ 391 w 632"/>
                <a:gd name="T37" fmla="*/ 410 h 895"/>
                <a:gd name="T38" fmla="*/ 14 w 632"/>
                <a:gd name="T39" fmla="*/ 42 h 895"/>
                <a:gd name="T40" fmla="*/ 41 w 632"/>
                <a:gd name="T41" fmla="*/ 15 h 895"/>
                <a:gd name="T42" fmla="*/ 554 w 632"/>
                <a:gd name="T43" fmla="*/ 15 h 895"/>
                <a:gd name="T44" fmla="*/ 582 w 632"/>
                <a:gd name="T45" fmla="*/ 42 h 895"/>
                <a:gd name="T46" fmla="*/ 554 w 632"/>
                <a:gd name="T47" fmla="*/ 69 h 895"/>
                <a:gd name="T48" fmla="*/ 41 w 632"/>
                <a:gd name="T49" fmla="*/ 69 h 895"/>
                <a:gd name="T50" fmla="*/ 14 w 632"/>
                <a:gd name="T51" fmla="*/ 42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32" h="895">
                  <a:moveTo>
                    <a:pt x="391" y="410"/>
                  </a:moveTo>
                  <a:cubicBezTo>
                    <a:pt x="336" y="410"/>
                    <a:pt x="289" y="423"/>
                    <a:pt x="247" y="454"/>
                  </a:cubicBezTo>
                  <a:cubicBezTo>
                    <a:pt x="247" y="534"/>
                    <a:pt x="247" y="534"/>
                    <a:pt x="247" y="534"/>
                  </a:cubicBezTo>
                  <a:cubicBezTo>
                    <a:pt x="284" y="489"/>
                    <a:pt x="333" y="468"/>
                    <a:pt x="391" y="468"/>
                  </a:cubicBezTo>
                  <a:cubicBezTo>
                    <a:pt x="494" y="468"/>
                    <a:pt x="571" y="551"/>
                    <a:pt x="571" y="652"/>
                  </a:cubicBezTo>
                  <a:cubicBezTo>
                    <a:pt x="571" y="754"/>
                    <a:pt x="491" y="836"/>
                    <a:pt x="391" y="836"/>
                  </a:cubicBezTo>
                  <a:cubicBezTo>
                    <a:pt x="290" y="836"/>
                    <a:pt x="209" y="754"/>
                    <a:pt x="209" y="650"/>
                  </a:cubicBezTo>
                  <a:cubicBezTo>
                    <a:pt x="209" y="83"/>
                    <a:pt x="209" y="83"/>
                    <a:pt x="209" y="83"/>
                  </a:cubicBezTo>
                  <a:cubicBezTo>
                    <a:pt x="554" y="83"/>
                    <a:pt x="554" y="83"/>
                    <a:pt x="554" y="83"/>
                  </a:cubicBezTo>
                  <a:cubicBezTo>
                    <a:pt x="577" y="83"/>
                    <a:pt x="596" y="64"/>
                    <a:pt x="596" y="42"/>
                  </a:cubicBezTo>
                  <a:cubicBezTo>
                    <a:pt x="596" y="19"/>
                    <a:pt x="577" y="0"/>
                    <a:pt x="554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9" y="0"/>
                    <a:pt x="0" y="19"/>
                    <a:pt x="0" y="42"/>
                  </a:cubicBezTo>
                  <a:cubicBezTo>
                    <a:pt x="0" y="64"/>
                    <a:pt x="19" y="83"/>
                    <a:pt x="41" y="83"/>
                  </a:cubicBezTo>
                  <a:cubicBezTo>
                    <a:pt x="150" y="83"/>
                    <a:pt x="150" y="83"/>
                    <a:pt x="150" y="83"/>
                  </a:cubicBezTo>
                  <a:cubicBezTo>
                    <a:pt x="150" y="652"/>
                    <a:pt x="150" y="652"/>
                    <a:pt x="150" y="652"/>
                  </a:cubicBezTo>
                  <a:cubicBezTo>
                    <a:pt x="150" y="787"/>
                    <a:pt x="257" y="895"/>
                    <a:pt x="391" y="895"/>
                  </a:cubicBezTo>
                  <a:cubicBezTo>
                    <a:pt x="524" y="895"/>
                    <a:pt x="632" y="787"/>
                    <a:pt x="632" y="652"/>
                  </a:cubicBezTo>
                  <a:cubicBezTo>
                    <a:pt x="632" y="518"/>
                    <a:pt x="526" y="410"/>
                    <a:pt x="391" y="410"/>
                  </a:cubicBezTo>
                  <a:close/>
                  <a:moveTo>
                    <a:pt x="14" y="42"/>
                  </a:moveTo>
                  <a:cubicBezTo>
                    <a:pt x="14" y="27"/>
                    <a:pt x="26" y="15"/>
                    <a:pt x="41" y="15"/>
                  </a:cubicBezTo>
                  <a:cubicBezTo>
                    <a:pt x="554" y="15"/>
                    <a:pt x="554" y="15"/>
                    <a:pt x="554" y="15"/>
                  </a:cubicBezTo>
                  <a:cubicBezTo>
                    <a:pt x="570" y="15"/>
                    <a:pt x="582" y="27"/>
                    <a:pt x="582" y="42"/>
                  </a:cubicBezTo>
                  <a:cubicBezTo>
                    <a:pt x="582" y="57"/>
                    <a:pt x="570" y="69"/>
                    <a:pt x="554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26" y="69"/>
                    <a:pt x="14" y="57"/>
                    <a:pt x="14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0" name="Freeform 20"/>
            <p:cNvSpPr>
              <a:spLocks noEditPoints="1"/>
            </p:cNvSpPr>
            <p:nvPr userDrawn="1"/>
          </p:nvSpPr>
          <p:spPr bwMode="auto">
            <a:xfrm>
              <a:off x="4815056" y="2160587"/>
              <a:ext cx="104775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1" name="Freeform 21"/>
            <p:cNvSpPr>
              <a:spLocks noEditPoints="1"/>
            </p:cNvSpPr>
            <p:nvPr userDrawn="1"/>
          </p:nvSpPr>
          <p:spPr bwMode="auto">
            <a:xfrm>
              <a:off x="5199231" y="2160587"/>
              <a:ext cx="106363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auto">
            <a:xfrm>
              <a:off x="5369093" y="2114549"/>
              <a:ext cx="330200" cy="806450"/>
            </a:xfrm>
            <a:custGeom>
              <a:avLst/>
              <a:gdLst>
                <a:gd name="T0" fmla="*/ 161 w 264"/>
                <a:gd name="T1" fmla="*/ 175 h 644"/>
                <a:gd name="T2" fmla="*/ 264 w 264"/>
                <a:gd name="T3" fmla="*/ 175 h 644"/>
                <a:gd name="T4" fmla="*/ 264 w 264"/>
                <a:gd name="T5" fmla="*/ 233 h 644"/>
                <a:gd name="T6" fmla="*/ 161 w 264"/>
                <a:gd name="T7" fmla="*/ 233 h 644"/>
                <a:gd name="T8" fmla="*/ 161 w 264"/>
                <a:gd name="T9" fmla="*/ 612 h 644"/>
                <a:gd name="T10" fmla="*/ 132 w 264"/>
                <a:gd name="T11" fmla="*/ 644 h 644"/>
                <a:gd name="T12" fmla="*/ 102 w 264"/>
                <a:gd name="T13" fmla="*/ 612 h 644"/>
                <a:gd name="T14" fmla="*/ 102 w 264"/>
                <a:gd name="T15" fmla="*/ 233 h 644"/>
                <a:gd name="T16" fmla="*/ 0 w 264"/>
                <a:gd name="T17" fmla="*/ 233 h 644"/>
                <a:gd name="T18" fmla="*/ 0 w 264"/>
                <a:gd name="T19" fmla="*/ 175 h 644"/>
                <a:gd name="T20" fmla="*/ 102 w 264"/>
                <a:gd name="T21" fmla="*/ 175 h 644"/>
                <a:gd name="T22" fmla="*/ 102 w 264"/>
                <a:gd name="T23" fmla="*/ 32 h 644"/>
                <a:gd name="T24" fmla="*/ 132 w 264"/>
                <a:gd name="T25" fmla="*/ 0 h 644"/>
                <a:gd name="T26" fmla="*/ 161 w 264"/>
                <a:gd name="T27" fmla="*/ 32 h 644"/>
                <a:gd name="T28" fmla="*/ 161 w 264"/>
                <a:gd name="T29" fmla="*/ 175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4" h="644">
                  <a:moveTo>
                    <a:pt x="161" y="175"/>
                  </a:moveTo>
                  <a:cubicBezTo>
                    <a:pt x="264" y="175"/>
                    <a:pt x="264" y="175"/>
                    <a:pt x="264" y="175"/>
                  </a:cubicBezTo>
                  <a:cubicBezTo>
                    <a:pt x="264" y="233"/>
                    <a:pt x="264" y="233"/>
                    <a:pt x="264" y="233"/>
                  </a:cubicBezTo>
                  <a:cubicBezTo>
                    <a:pt x="161" y="233"/>
                    <a:pt x="161" y="233"/>
                    <a:pt x="161" y="233"/>
                  </a:cubicBezTo>
                  <a:cubicBezTo>
                    <a:pt x="161" y="612"/>
                    <a:pt x="161" y="612"/>
                    <a:pt x="161" y="612"/>
                  </a:cubicBezTo>
                  <a:cubicBezTo>
                    <a:pt x="161" y="630"/>
                    <a:pt x="149" y="644"/>
                    <a:pt x="132" y="644"/>
                  </a:cubicBezTo>
                  <a:cubicBezTo>
                    <a:pt x="114" y="644"/>
                    <a:pt x="102" y="630"/>
                    <a:pt x="102" y="612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102" y="175"/>
                    <a:pt x="102" y="175"/>
                    <a:pt x="102" y="175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14"/>
                    <a:pt x="114" y="0"/>
                    <a:pt x="132" y="0"/>
                  </a:cubicBezTo>
                  <a:cubicBezTo>
                    <a:pt x="149" y="0"/>
                    <a:pt x="161" y="14"/>
                    <a:pt x="161" y="32"/>
                  </a:cubicBezTo>
                  <a:lnTo>
                    <a:pt x="161" y="17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3" name="Freeform 23"/>
            <p:cNvSpPr>
              <a:spLocks noEditPoints="1"/>
            </p:cNvSpPr>
            <p:nvPr userDrawn="1"/>
          </p:nvSpPr>
          <p:spPr bwMode="auto">
            <a:xfrm>
              <a:off x="5759618" y="2160587"/>
              <a:ext cx="106363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9" y="83"/>
                    <a:pt x="0" y="6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4" name="Freeform 24"/>
            <p:cNvSpPr>
              <a:spLocks/>
            </p:cNvSpPr>
            <p:nvPr userDrawn="1"/>
          </p:nvSpPr>
          <p:spPr bwMode="auto">
            <a:xfrm>
              <a:off x="5932656" y="2320924"/>
              <a:ext cx="598488" cy="606425"/>
            </a:xfrm>
            <a:custGeom>
              <a:avLst/>
              <a:gdLst>
                <a:gd name="T0" fmla="*/ 139 w 478"/>
                <a:gd name="T1" fmla="*/ 205 h 484"/>
                <a:gd name="T2" fmla="*/ 413 w 478"/>
                <a:gd name="T3" fmla="*/ 205 h 484"/>
                <a:gd name="T4" fmla="*/ 239 w 478"/>
                <a:gd name="T5" fmla="*/ 56 h 484"/>
                <a:gd name="T6" fmla="*/ 60 w 478"/>
                <a:gd name="T7" fmla="*/ 237 h 484"/>
                <a:gd name="T8" fmla="*/ 238 w 478"/>
                <a:gd name="T9" fmla="*/ 425 h 484"/>
                <a:gd name="T10" fmla="*/ 396 w 478"/>
                <a:gd name="T11" fmla="*/ 335 h 484"/>
                <a:gd name="T12" fmla="*/ 426 w 478"/>
                <a:gd name="T13" fmla="*/ 318 h 484"/>
                <a:gd name="T14" fmla="*/ 455 w 478"/>
                <a:gd name="T15" fmla="*/ 349 h 484"/>
                <a:gd name="T16" fmla="*/ 449 w 478"/>
                <a:gd name="T17" fmla="*/ 369 h 484"/>
                <a:gd name="T18" fmla="*/ 449 w 478"/>
                <a:gd name="T19" fmla="*/ 369 h 484"/>
                <a:gd name="T20" fmla="*/ 239 w 478"/>
                <a:gd name="T21" fmla="*/ 484 h 484"/>
                <a:gd name="T22" fmla="*/ 0 w 478"/>
                <a:gd name="T23" fmla="*/ 242 h 484"/>
                <a:gd name="T24" fmla="*/ 238 w 478"/>
                <a:gd name="T25" fmla="*/ 0 h 484"/>
                <a:gd name="T26" fmla="*/ 478 w 478"/>
                <a:gd name="T27" fmla="*/ 235 h 484"/>
                <a:gd name="T28" fmla="*/ 449 w 478"/>
                <a:gd name="T29" fmla="*/ 265 h 484"/>
                <a:gd name="T30" fmla="*/ 139 w 478"/>
                <a:gd name="T31" fmla="*/ 265 h 484"/>
                <a:gd name="T32" fmla="*/ 111 w 478"/>
                <a:gd name="T33" fmla="*/ 236 h 484"/>
                <a:gd name="T34" fmla="*/ 139 w 478"/>
                <a:gd name="T35" fmla="*/ 205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8" h="484">
                  <a:moveTo>
                    <a:pt x="139" y="205"/>
                  </a:moveTo>
                  <a:cubicBezTo>
                    <a:pt x="413" y="205"/>
                    <a:pt x="413" y="205"/>
                    <a:pt x="413" y="205"/>
                  </a:cubicBezTo>
                  <a:cubicBezTo>
                    <a:pt x="398" y="118"/>
                    <a:pt x="323" y="56"/>
                    <a:pt x="239" y="56"/>
                  </a:cubicBezTo>
                  <a:cubicBezTo>
                    <a:pt x="146" y="56"/>
                    <a:pt x="60" y="135"/>
                    <a:pt x="60" y="237"/>
                  </a:cubicBezTo>
                  <a:cubicBezTo>
                    <a:pt x="60" y="336"/>
                    <a:pt x="131" y="420"/>
                    <a:pt x="238" y="425"/>
                  </a:cubicBezTo>
                  <a:cubicBezTo>
                    <a:pt x="299" y="427"/>
                    <a:pt x="361" y="392"/>
                    <a:pt x="396" y="335"/>
                  </a:cubicBezTo>
                  <a:cubicBezTo>
                    <a:pt x="402" y="325"/>
                    <a:pt x="413" y="318"/>
                    <a:pt x="426" y="318"/>
                  </a:cubicBezTo>
                  <a:cubicBezTo>
                    <a:pt x="444" y="318"/>
                    <a:pt x="455" y="331"/>
                    <a:pt x="455" y="349"/>
                  </a:cubicBezTo>
                  <a:cubicBezTo>
                    <a:pt x="455" y="356"/>
                    <a:pt x="453" y="363"/>
                    <a:pt x="449" y="369"/>
                  </a:cubicBezTo>
                  <a:cubicBezTo>
                    <a:pt x="449" y="369"/>
                    <a:pt x="449" y="369"/>
                    <a:pt x="449" y="369"/>
                  </a:cubicBezTo>
                  <a:cubicBezTo>
                    <a:pt x="407" y="441"/>
                    <a:pt x="327" y="484"/>
                    <a:pt x="239" y="484"/>
                  </a:cubicBezTo>
                  <a:cubicBezTo>
                    <a:pt x="103" y="480"/>
                    <a:pt x="0" y="377"/>
                    <a:pt x="0" y="242"/>
                  </a:cubicBezTo>
                  <a:cubicBezTo>
                    <a:pt x="0" y="107"/>
                    <a:pt x="103" y="0"/>
                    <a:pt x="238" y="0"/>
                  </a:cubicBezTo>
                  <a:cubicBezTo>
                    <a:pt x="361" y="0"/>
                    <a:pt x="478" y="95"/>
                    <a:pt x="478" y="235"/>
                  </a:cubicBezTo>
                  <a:cubicBezTo>
                    <a:pt x="478" y="254"/>
                    <a:pt x="465" y="265"/>
                    <a:pt x="449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23" y="265"/>
                    <a:pt x="111" y="252"/>
                    <a:pt x="111" y="236"/>
                  </a:cubicBezTo>
                  <a:cubicBezTo>
                    <a:pt x="111" y="220"/>
                    <a:pt x="123" y="205"/>
                    <a:pt x="139" y="2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5" name="Freeform 25"/>
            <p:cNvSpPr>
              <a:spLocks/>
            </p:cNvSpPr>
            <p:nvPr userDrawn="1"/>
          </p:nvSpPr>
          <p:spPr bwMode="auto">
            <a:xfrm>
              <a:off x="6562893" y="2319337"/>
              <a:ext cx="363538" cy="608013"/>
            </a:xfrm>
            <a:custGeom>
              <a:avLst/>
              <a:gdLst>
                <a:gd name="T0" fmla="*/ 247 w 291"/>
                <a:gd name="T1" fmla="*/ 120 h 485"/>
                <a:gd name="T2" fmla="*/ 213 w 291"/>
                <a:gd name="T3" fmla="*/ 98 h 485"/>
                <a:gd name="T4" fmla="*/ 143 w 291"/>
                <a:gd name="T5" fmla="*/ 57 h 485"/>
                <a:gd name="T6" fmla="*/ 75 w 291"/>
                <a:gd name="T7" fmla="*/ 122 h 485"/>
                <a:gd name="T8" fmla="*/ 156 w 291"/>
                <a:gd name="T9" fmla="*/ 200 h 485"/>
                <a:gd name="T10" fmla="*/ 238 w 291"/>
                <a:gd name="T11" fmla="*/ 238 h 485"/>
                <a:gd name="T12" fmla="*/ 291 w 291"/>
                <a:gd name="T13" fmla="*/ 340 h 485"/>
                <a:gd name="T14" fmla="*/ 145 w 291"/>
                <a:gd name="T15" fmla="*/ 485 h 485"/>
                <a:gd name="T16" fmla="*/ 0 w 291"/>
                <a:gd name="T17" fmla="*/ 362 h 485"/>
                <a:gd name="T18" fmla="*/ 0 w 291"/>
                <a:gd name="T19" fmla="*/ 353 h 485"/>
                <a:gd name="T20" fmla="*/ 30 w 291"/>
                <a:gd name="T21" fmla="*/ 322 h 485"/>
                <a:gd name="T22" fmla="*/ 61 w 291"/>
                <a:gd name="T23" fmla="*/ 351 h 485"/>
                <a:gd name="T24" fmla="*/ 147 w 291"/>
                <a:gd name="T25" fmla="*/ 427 h 485"/>
                <a:gd name="T26" fmla="*/ 230 w 291"/>
                <a:gd name="T27" fmla="*/ 350 h 485"/>
                <a:gd name="T28" fmla="*/ 138 w 291"/>
                <a:gd name="T29" fmla="*/ 257 h 485"/>
                <a:gd name="T30" fmla="*/ 13 w 291"/>
                <a:gd name="T31" fmla="*/ 127 h 485"/>
                <a:gd name="T32" fmla="*/ 147 w 291"/>
                <a:gd name="T33" fmla="*/ 0 h 485"/>
                <a:gd name="T34" fmla="*/ 271 w 291"/>
                <a:gd name="T35" fmla="*/ 89 h 485"/>
                <a:gd name="T36" fmla="*/ 247 w 291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1" h="485">
                  <a:moveTo>
                    <a:pt x="247" y="120"/>
                  </a:moveTo>
                  <a:cubicBezTo>
                    <a:pt x="232" y="122"/>
                    <a:pt x="220" y="115"/>
                    <a:pt x="213" y="98"/>
                  </a:cubicBezTo>
                  <a:cubicBezTo>
                    <a:pt x="200" y="70"/>
                    <a:pt x="175" y="57"/>
                    <a:pt x="143" y="57"/>
                  </a:cubicBezTo>
                  <a:cubicBezTo>
                    <a:pt x="105" y="57"/>
                    <a:pt x="75" y="89"/>
                    <a:pt x="75" y="122"/>
                  </a:cubicBezTo>
                  <a:cubicBezTo>
                    <a:pt x="75" y="158"/>
                    <a:pt x="96" y="179"/>
                    <a:pt x="156" y="200"/>
                  </a:cubicBezTo>
                  <a:cubicBezTo>
                    <a:pt x="184" y="210"/>
                    <a:pt x="216" y="223"/>
                    <a:pt x="238" y="238"/>
                  </a:cubicBezTo>
                  <a:cubicBezTo>
                    <a:pt x="274" y="264"/>
                    <a:pt x="291" y="298"/>
                    <a:pt x="291" y="340"/>
                  </a:cubicBezTo>
                  <a:cubicBezTo>
                    <a:pt x="291" y="428"/>
                    <a:pt x="230" y="485"/>
                    <a:pt x="145" y="485"/>
                  </a:cubicBezTo>
                  <a:cubicBezTo>
                    <a:pt x="66" y="485"/>
                    <a:pt x="19" y="436"/>
                    <a:pt x="0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3" y="322"/>
                    <a:pt x="30" y="322"/>
                  </a:cubicBezTo>
                  <a:cubicBezTo>
                    <a:pt x="47" y="322"/>
                    <a:pt x="58" y="334"/>
                    <a:pt x="61" y="351"/>
                  </a:cubicBezTo>
                  <a:cubicBezTo>
                    <a:pt x="69" y="395"/>
                    <a:pt x="105" y="427"/>
                    <a:pt x="147" y="427"/>
                  </a:cubicBezTo>
                  <a:cubicBezTo>
                    <a:pt x="190" y="427"/>
                    <a:pt x="230" y="392"/>
                    <a:pt x="230" y="350"/>
                  </a:cubicBezTo>
                  <a:cubicBezTo>
                    <a:pt x="230" y="308"/>
                    <a:pt x="204" y="279"/>
                    <a:pt x="138" y="257"/>
                  </a:cubicBezTo>
                  <a:cubicBezTo>
                    <a:pt x="46" y="226"/>
                    <a:pt x="13" y="190"/>
                    <a:pt x="13" y="127"/>
                  </a:cubicBezTo>
                  <a:cubicBezTo>
                    <a:pt x="13" y="54"/>
                    <a:pt x="71" y="0"/>
                    <a:pt x="147" y="0"/>
                  </a:cubicBezTo>
                  <a:cubicBezTo>
                    <a:pt x="215" y="0"/>
                    <a:pt x="271" y="47"/>
                    <a:pt x="271" y="89"/>
                  </a:cubicBezTo>
                  <a:cubicBezTo>
                    <a:pt x="271" y="103"/>
                    <a:pt x="265" y="117"/>
                    <a:pt x="247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6" name="Freeform 26"/>
            <p:cNvSpPr>
              <a:spLocks/>
            </p:cNvSpPr>
            <p:nvPr userDrawn="1"/>
          </p:nvSpPr>
          <p:spPr bwMode="auto">
            <a:xfrm>
              <a:off x="4838868" y="1015999"/>
              <a:ext cx="434975" cy="1905000"/>
            </a:xfrm>
            <a:custGeom>
              <a:avLst/>
              <a:gdLst>
                <a:gd name="T0" fmla="*/ 334 w 347"/>
                <a:gd name="T1" fmla="*/ 147 h 1523"/>
                <a:gd name="T2" fmla="*/ 201 w 347"/>
                <a:gd name="T3" fmla="*/ 13 h 1523"/>
                <a:gd name="T4" fmla="*/ 152 w 347"/>
                <a:gd name="T5" fmla="*/ 13 h 1523"/>
                <a:gd name="T6" fmla="*/ 14 w 347"/>
                <a:gd name="T7" fmla="*/ 145 h 1523"/>
                <a:gd name="T8" fmla="*/ 13 w 347"/>
                <a:gd name="T9" fmla="*/ 194 h 1523"/>
                <a:gd name="T10" fmla="*/ 61 w 347"/>
                <a:gd name="T11" fmla="*/ 195 h 1523"/>
                <a:gd name="T12" fmla="*/ 146 w 347"/>
                <a:gd name="T13" fmla="*/ 116 h 1523"/>
                <a:gd name="T14" fmla="*/ 146 w 347"/>
                <a:gd name="T15" fmla="*/ 1491 h 1523"/>
                <a:gd name="T16" fmla="*/ 175 w 347"/>
                <a:gd name="T17" fmla="*/ 1523 h 1523"/>
                <a:gd name="T18" fmla="*/ 205 w 347"/>
                <a:gd name="T19" fmla="*/ 1491 h 1523"/>
                <a:gd name="T20" fmla="*/ 205 w 347"/>
                <a:gd name="T21" fmla="*/ 115 h 1523"/>
                <a:gd name="T22" fmla="*/ 206 w 347"/>
                <a:gd name="T23" fmla="*/ 115 h 1523"/>
                <a:gd name="T24" fmla="*/ 285 w 347"/>
                <a:gd name="T25" fmla="*/ 195 h 1523"/>
                <a:gd name="T26" fmla="*/ 309 w 347"/>
                <a:gd name="T27" fmla="*/ 205 h 1523"/>
                <a:gd name="T28" fmla="*/ 334 w 347"/>
                <a:gd name="T29" fmla="*/ 195 h 1523"/>
                <a:gd name="T30" fmla="*/ 334 w 347"/>
                <a:gd name="T31" fmla="*/ 147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7" h="1523">
                  <a:moveTo>
                    <a:pt x="334" y="147"/>
                  </a:moveTo>
                  <a:cubicBezTo>
                    <a:pt x="201" y="13"/>
                    <a:pt x="201" y="13"/>
                    <a:pt x="201" y="13"/>
                  </a:cubicBezTo>
                  <a:cubicBezTo>
                    <a:pt x="187" y="0"/>
                    <a:pt x="166" y="0"/>
                    <a:pt x="152" y="13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0" y="158"/>
                    <a:pt x="0" y="180"/>
                    <a:pt x="13" y="194"/>
                  </a:cubicBezTo>
                  <a:cubicBezTo>
                    <a:pt x="26" y="208"/>
                    <a:pt x="48" y="208"/>
                    <a:pt x="61" y="195"/>
                  </a:cubicBezTo>
                  <a:cubicBezTo>
                    <a:pt x="146" y="116"/>
                    <a:pt x="146" y="116"/>
                    <a:pt x="146" y="116"/>
                  </a:cubicBezTo>
                  <a:cubicBezTo>
                    <a:pt x="146" y="1491"/>
                    <a:pt x="146" y="1491"/>
                    <a:pt x="146" y="1491"/>
                  </a:cubicBezTo>
                  <a:cubicBezTo>
                    <a:pt x="146" y="1509"/>
                    <a:pt x="158" y="1523"/>
                    <a:pt x="175" y="1523"/>
                  </a:cubicBezTo>
                  <a:cubicBezTo>
                    <a:pt x="194" y="1523"/>
                    <a:pt x="205" y="1509"/>
                    <a:pt x="205" y="1491"/>
                  </a:cubicBezTo>
                  <a:cubicBezTo>
                    <a:pt x="205" y="115"/>
                    <a:pt x="205" y="115"/>
                    <a:pt x="205" y="115"/>
                  </a:cubicBezTo>
                  <a:cubicBezTo>
                    <a:pt x="206" y="115"/>
                    <a:pt x="206" y="115"/>
                    <a:pt x="206" y="115"/>
                  </a:cubicBezTo>
                  <a:cubicBezTo>
                    <a:pt x="285" y="195"/>
                    <a:pt x="285" y="195"/>
                    <a:pt x="285" y="195"/>
                  </a:cubicBezTo>
                  <a:cubicBezTo>
                    <a:pt x="292" y="202"/>
                    <a:pt x="301" y="205"/>
                    <a:pt x="309" y="205"/>
                  </a:cubicBezTo>
                  <a:cubicBezTo>
                    <a:pt x="318" y="205"/>
                    <a:pt x="327" y="202"/>
                    <a:pt x="334" y="195"/>
                  </a:cubicBezTo>
                  <a:cubicBezTo>
                    <a:pt x="347" y="182"/>
                    <a:pt x="347" y="160"/>
                    <a:pt x="334" y="1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7" name="Line 27"/>
            <p:cNvSpPr>
              <a:spLocks noChangeShapeType="1"/>
            </p:cNvSpPr>
            <p:nvPr userDrawn="1"/>
          </p:nvSpPr>
          <p:spPr bwMode="auto">
            <a:xfrm>
              <a:off x="5097631" y="2892424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8" name="Line 28"/>
            <p:cNvSpPr>
              <a:spLocks noChangeShapeType="1"/>
            </p:cNvSpPr>
            <p:nvPr userDrawn="1"/>
          </p:nvSpPr>
          <p:spPr bwMode="auto">
            <a:xfrm>
              <a:off x="5097631" y="2892424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9" name="Freeform 29"/>
            <p:cNvSpPr>
              <a:spLocks noEditPoints="1"/>
            </p:cNvSpPr>
            <p:nvPr userDrawn="1"/>
          </p:nvSpPr>
          <p:spPr bwMode="auto">
            <a:xfrm>
              <a:off x="6969293" y="2724149"/>
              <a:ext cx="203200" cy="203200"/>
            </a:xfrm>
            <a:custGeom>
              <a:avLst/>
              <a:gdLst>
                <a:gd name="T0" fmla="*/ 20 w 162"/>
                <a:gd name="T1" fmla="*/ 82 h 162"/>
                <a:gd name="T2" fmla="*/ 82 w 162"/>
                <a:gd name="T3" fmla="*/ 144 h 162"/>
                <a:gd name="T4" fmla="*/ 142 w 162"/>
                <a:gd name="T5" fmla="*/ 81 h 162"/>
                <a:gd name="T6" fmla="*/ 82 w 162"/>
                <a:gd name="T7" fmla="*/ 18 h 162"/>
                <a:gd name="T8" fmla="*/ 20 w 162"/>
                <a:gd name="T9" fmla="*/ 82 h 162"/>
                <a:gd name="T10" fmla="*/ 162 w 162"/>
                <a:gd name="T11" fmla="*/ 82 h 162"/>
                <a:gd name="T12" fmla="*/ 82 w 162"/>
                <a:gd name="T13" fmla="*/ 162 h 162"/>
                <a:gd name="T14" fmla="*/ 0 w 162"/>
                <a:gd name="T15" fmla="*/ 82 h 162"/>
                <a:gd name="T16" fmla="*/ 82 w 162"/>
                <a:gd name="T17" fmla="*/ 0 h 162"/>
                <a:gd name="T18" fmla="*/ 162 w 162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62">
                  <a:moveTo>
                    <a:pt x="20" y="82"/>
                  </a:moveTo>
                  <a:cubicBezTo>
                    <a:pt x="20" y="117"/>
                    <a:pt x="48" y="144"/>
                    <a:pt x="82" y="144"/>
                  </a:cubicBezTo>
                  <a:cubicBezTo>
                    <a:pt x="115" y="144"/>
                    <a:pt x="142" y="116"/>
                    <a:pt x="142" y="81"/>
                  </a:cubicBezTo>
                  <a:cubicBezTo>
                    <a:pt x="142" y="46"/>
                    <a:pt x="114" y="18"/>
                    <a:pt x="82" y="18"/>
                  </a:cubicBezTo>
                  <a:cubicBezTo>
                    <a:pt x="47" y="18"/>
                    <a:pt x="20" y="47"/>
                    <a:pt x="20" y="82"/>
                  </a:cubicBezTo>
                  <a:moveTo>
                    <a:pt x="162" y="82"/>
                  </a:moveTo>
                  <a:cubicBezTo>
                    <a:pt x="162" y="125"/>
                    <a:pt x="124" y="162"/>
                    <a:pt x="82" y="162"/>
                  </a:cubicBezTo>
                  <a:cubicBezTo>
                    <a:pt x="37" y="162"/>
                    <a:pt x="0" y="126"/>
                    <a:pt x="0" y="82"/>
                  </a:cubicBezTo>
                  <a:cubicBezTo>
                    <a:pt x="0" y="37"/>
                    <a:pt x="36" y="0"/>
                    <a:pt x="82" y="0"/>
                  </a:cubicBezTo>
                  <a:cubicBezTo>
                    <a:pt x="125" y="0"/>
                    <a:pt x="162" y="37"/>
                    <a:pt x="162" y="82"/>
                  </a:cubicBezTo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50" name="Freeform 30"/>
            <p:cNvSpPr>
              <a:spLocks noEditPoints="1"/>
            </p:cNvSpPr>
            <p:nvPr userDrawn="1"/>
          </p:nvSpPr>
          <p:spPr bwMode="auto">
            <a:xfrm>
              <a:off x="7212181" y="2724149"/>
              <a:ext cx="201613" cy="203200"/>
            </a:xfrm>
            <a:custGeom>
              <a:avLst/>
              <a:gdLst>
                <a:gd name="T0" fmla="*/ 19 w 161"/>
                <a:gd name="T1" fmla="*/ 82 h 162"/>
                <a:gd name="T2" fmla="*/ 81 w 161"/>
                <a:gd name="T3" fmla="*/ 144 h 162"/>
                <a:gd name="T4" fmla="*/ 141 w 161"/>
                <a:gd name="T5" fmla="*/ 81 h 162"/>
                <a:gd name="T6" fmla="*/ 81 w 161"/>
                <a:gd name="T7" fmla="*/ 18 h 162"/>
                <a:gd name="T8" fmla="*/ 19 w 161"/>
                <a:gd name="T9" fmla="*/ 82 h 162"/>
                <a:gd name="T10" fmla="*/ 161 w 161"/>
                <a:gd name="T11" fmla="*/ 82 h 162"/>
                <a:gd name="T12" fmla="*/ 81 w 161"/>
                <a:gd name="T13" fmla="*/ 162 h 162"/>
                <a:gd name="T14" fmla="*/ 0 w 161"/>
                <a:gd name="T15" fmla="*/ 82 h 162"/>
                <a:gd name="T16" fmla="*/ 81 w 161"/>
                <a:gd name="T17" fmla="*/ 0 h 162"/>
                <a:gd name="T18" fmla="*/ 161 w 161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19" y="82"/>
                  </a:moveTo>
                  <a:cubicBezTo>
                    <a:pt x="19" y="117"/>
                    <a:pt x="47" y="144"/>
                    <a:pt x="81" y="144"/>
                  </a:cubicBezTo>
                  <a:cubicBezTo>
                    <a:pt x="115" y="144"/>
                    <a:pt x="141" y="116"/>
                    <a:pt x="141" y="81"/>
                  </a:cubicBezTo>
                  <a:cubicBezTo>
                    <a:pt x="141" y="46"/>
                    <a:pt x="114" y="18"/>
                    <a:pt x="81" y="18"/>
                  </a:cubicBezTo>
                  <a:cubicBezTo>
                    <a:pt x="47" y="18"/>
                    <a:pt x="19" y="47"/>
                    <a:pt x="19" y="82"/>
                  </a:cubicBezTo>
                  <a:moveTo>
                    <a:pt x="161" y="82"/>
                  </a:moveTo>
                  <a:cubicBezTo>
                    <a:pt x="161" y="125"/>
                    <a:pt x="124" y="162"/>
                    <a:pt x="81" y="162"/>
                  </a:cubicBezTo>
                  <a:cubicBezTo>
                    <a:pt x="36" y="162"/>
                    <a:pt x="0" y="126"/>
                    <a:pt x="0" y="82"/>
                  </a:cubicBezTo>
                  <a:cubicBezTo>
                    <a:pt x="0" y="37"/>
                    <a:pt x="36" y="0"/>
                    <a:pt x="81" y="0"/>
                  </a:cubicBezTo>
                  <a:cubicBezTo>
                    <a:pt x="125" y="0"/>
                    <a:pt x="161" y="37"/>
                    <a:pt x="161" y="8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51" name="Freeform 31"/>
            <p:cNvSpPr>
              <a:spLocks noEditPoints="1"/>
            </p:cNvSpPr>
            <p:nvPr userDrawn="1"/>
          </p:nvSpPr>
          <p:spPr bwMode="auto">
            <a:xfrm>
              <a:off x="7453481" y="2724149"/>
              <a:ext cx="201613" cy="203200"/>
            </a:xfrm>
            <a:custGeom>
              <a:avLst/>
              <a:gdLst>
                <a:gd name="T0" fmla="*/ 20 w 161"/>
                <a:gd name="T1" fmla="*/ 82 h 162"/>
                <a:gd name="T2" fmla="*/ 81 w 161"/>
                <a:gd name="T3" fmla="*/ 144 h 162"/>
                <a:gd name="T4" fmla="*/ 141 w 161"/>
                <a:gd name="T5" fmla="*/ 81 h 162"/>
                <a:gd name="T6" fmla="*/ 81 w 161"/>
                <a:gd name="T7" fmla="*/ 18 h 162"/>
                <a:gd name="T8" fmla="*/ 20 w 161"/>
                <a:gd name="T9" fmla="*/ 82 h 162"/>
                <a:gd name="T10" fmla="*/ 161 w 161"/>
                <a:gd name="T11" fmla="*/ 82 h 162"/>
                <a:gd name="T12" fmla="*/ 81 w 161"/>
                <a:gd name="T13" fmla="*/ 162 h 162"/>
                <a:gd name="T14" fmla="*/ 0 w 161"/>
                <a:gd name="T15" fmla="*/ 82 h 162"/>
                <a:gd name="T16" fmla="*/ 81 w 161"/>
                <a:gd name="T17" fmla="*/ 0 h 162"/>
                <a:gd name="T18" fmla="*/ 161 w 161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20" y="82"/>
                  </a:moveTo>
                  <a:cubicBezTo>
                    <a:pt x="20" y="117"/>
                    <a:pt x="47" y="144"/>
                    <a:pt x="81" y="144"/>
                  </a:cubicBezTo>
                  <a:cubicBezTo>
                    <a:pt x="115" y="144"/>
                    <a:pt x="141" y="116"/>
                    <a:pt x="141" y="81"/>
                  </a:cubicBezTo>
                  <a:cubicBezTo>
                    <a:pt x="141" y="46"/>
                    <a:pt x="114" y="18"/>
                    <a:pt x="81" y="18"/>
                  </a:cubicBezTo>
                  <a:cubicBezTo>
                    <a:pt x="47" y="18"/>
                    <a:pt x="20" y="47"/>
                    <a:pt x="20" y="82"/>
                  </a:cubicBezTo>
                  <a:moveTo>
                    <a:pt x="161" y="82"/>
                  </a:moveTo>
                  <a:cubicBezTo>
                    <a:pt x="161" y="125"/>
                    <a:pt x="124" y="162"/>
                    <a:pt x="81" y="162"/>
                  </a:cubicBezTo>
                  <a:cubicBezTo>
                    <a:pt x="37" y="162"/>
                    <a:pt x="0" y="126"/>
                    <a:pt x="0" y="82"/>
                  </a:cubicBezTo>
                  <a:cubicBezTo>
                    <a:pt x="0" y="37"/>
                    <a:pt x="36" y="0"/>
                    <a:pt x="81" y="0"/>
                  </a:cubicBezTo>
                  <a:cubicBezTo>
                    <a:pt x="125" y="0"/>
                    <a:pt x="161" y="37"/>
                    <a:pt x="161" y="82"/>
                  </a:cubicBezTo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</p:grpSp>
      <p:grpSp>
        <p:nvGrpSpPr>
          <p:cNvPr id="24" name="Group 23"/>
          <p:cNvGrpSpPr/>
          <p:nvPr userDrawn="1"/>
        </p:nvGrpSpPr>
        <p:grpSpPr>
          <a:xfrm>
            <a:off x="3293553" y="3210128"/>
            <a:ext cx="2556894" cy="309111"/>
            <a:chOff x="3293553" y="3213100"/>
            <a:chExt cx="2556894" cy="30939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9" name="Freeform 6"/>
            <p:cNvSpPr>
              <a:spLocks/>
            </p:cNvSpPr>
            <p:nvPr userDrawn="1"/>
          </p:nvSpPr>
          <p:spPr bwMode="auto">
            <a:xfrm>
              <a:off x="3293553" y="3271687"/>
              <a:ext cx="190592" cy="250810"/>
            </a:xfrm>
            <a:custGeom>
              <a:avLst/>
              <a:gdLst>
                <a:gd name="T0" fmla="*/ 1478 w 2570"/>
                <a:gd name="T1" fmla="*/ 14 h 3382"/>
                <a:gd name="T2" fmla="*/ 1776 w 2570"/>
                <a:gd name="T3" fmla="*/ 94 h 3382"/>
                <a:gd name="T4" fmla="*/ 2044 w 2570"/>
                <a:gd name="T5" fmla="*/ 250 h 3382"/>
                <a:gd name="T6" fmla="*/ 2238 w 2570"/>
                <a:gd name="T7" fmla="*/ 426 h 3382"/>
                <a:gd name="T8" fmla="*/ 2422 w 2570"/>
                <a:gd name="T9" fmla="*/ 682 h 3382"/>
                <a:gd name="T10" fmla="*/ 2532 w 2570"/>
                <a:gd name="T11" fmla="*/ 970 h 3382"/>
                <a:gd name="T12" fmla="*/ 2570 w 2570"/>
                <a:gd name="T13" fmla="*/ 1290 h 3382"/>
                <a:gd name="T14" fmla="*/ 2546 w 2570"/>
                <a:gd name="T15" fmla="*/ 1546 h 3382"/>
                <a:gd name="T16" fmla="*/ 2450 w 2570"/>
                <a:gd name="T17" fmla="*/ 1842 h 3382"/>
                <a:gd name="T18" fmla="*/ 2280 w 2570"/>
                <a:gd name="T19" fmla="*/ 2106 h 3382"/>
                <a:gd name="T20" fmla="*/ 2094 w 2570"/>
                <a:gd name="T21" fmla="*/ 2292 h 3382"/>
                <a:gd name="T22" fmla="*/ 1832 w 2570"/>
                <a:gd name="T23" fmla="*/ 2462 h 3382"/>
                <a:gd name="T24" fmla="*/ 1540 w 2570"/>
                <a:gd name="T25" fmla="*/ 2558 h 3382"/>
                <a:gd name="T26" fmla="*/ 1284 w 2570"/>
                <a:gd name="T27" fmla="*/ 2582 h 3382"/>
                <a:gd name="T28" fmla="*/ 1020 w 2570"/>
                <a:gd name="T29" fmla="*/ 2556 h 3382"/>
                <a:gd name="T30" fmla="*/ 776 w 2570"/>
                <a:gd name="T31" fmla="*/ 2478 h 3382"/>
                <a:gd name="T32" fmla="*/ 550 w 2570"/>
                <a:gd name="T33" fmla="*/ 2350 h 3382"/>
                <a:gd name="T34" fmla="*/ 584 w 2570"/>
                <a:gd name="T35" fmla="*/ 2004 h 3382"/>
                <a:gd name="T36" fmla="*/ 802 w 2570"/>
                <a:gd name="T37" fmla="*/ 2172 h 3382"/>
                <a:gd name="T38" fmla="*/ 1056 w 2570"/>
                <a:gd name="T39" fmla="*/ 2268 h 3382"/>
                <a:gd name="T40" fmla="*/ 1284 w 2570"/>
                <a:gd name="T41" fmla="*/ 2292 h 3382"/>
                <a:gd name="T42" fmla="*/ 1530 w 2570"/>
                <a:gd name="T43" fmla="*/ 2262 h 3382"/>
                <a:gd name="T44" fmla="*/ 1752 w 2570"/>
                <a:gd name="T45" fmla="*/ 2176 h 3382"/>
                <a:gd name="T46" fmla="*/ 1950 w 2570"/>
                <a:gd name="T47" fmla="*/ 2034 h 3382"/>
                <a:gd name="T48" fmla="*/ 2086 w 2570"/>
                <a:gd name="T49" fmla="*/ 1884 h 3382"/>
                <a:gd name="T50" fmla="*/ 2204 w 2570"/>
                <a:gd name="T51" fmla="*/ 1674 h 3382"/>
                <a:gd name="T52" fmla="*/ 2268 w 2570"/>
                <a:gd name="T53" fmla="*/ 1440 h 3382"/>
                <a:gd name="T54" fmla="*/ 2276 w 2570"/>
                <a:gd name="T55" fmla="*/ 1238 h 3382"/>
                <a:gd name="T56" fmla="*/ 2236 w 2570"/>
                <a:gd name="T57" fmla="*/ 994 h 3382"/>
                <a:gd name="T58" fmla="*/ 2140 w 2570"/>
                <a:gd name="T59" fmla="*/ 776 h 3382"/>
                <a:gd name="T60" fmla="*/ 1986 w 2570"/>
                <a:gd name="T61" fmla="*/ 580 h 3382"/>
                <a:gd name="T62" fmla="*/ 1834 w 2570"/>
                <a:gd name="T63" fmla="*/ 452 h 3382"/>
                <a:gd name="T64" fmla="*/ 1620 w 2570"/>
                <a:gd name="T65" fmla="*/ 344 h 3382"/>
                <a:gd name="T66" fmla="*/ 1386 w 2570"/>
                <a:gd name="T67" fmla="*/ 292 h 3382"/>
                <a:gd name="T68" fmla="*/ 1182 w 2570"/>
                <a:gd name="T69" fmla="*/ 292 h 3382"/>
                <a:gd name="T70" fmla="*/ 946 w 2570"/>
                <a:gd name="T71" fmla="*/ 344 h 3382"/>
                <a:gd name="T72" fmla="*/ 732 w 2570"/>
                <a:gd name="T73" fmla="*/ 452 h 3382"/>
                <a:gd name="T74" fmla="*/ 578 w 2570"/>
                <a:gd name="T75" fmla="*/ 580 h 3382"/>
                <a:gd name="T76" fmla="*/ 424 w 2570"/>
                <a:gd name="T77" fmla="*/ 776 h 3382"/>
                <a:gd name="T78" fmla="*/ 328 w 2570"/>
                <a:gd name="T79" fmla="*/ 994 h 3382"/>
                <a:gd name="T80" fmla="*/ 288 w 2570"/>
                <a:gd name="T81" fmla="*/ 1238 h 3382"/>
                <a:gd name="T82" fmla="*/ 286 w 2570"/>
                <a:gd name="T83" fmla="*/ 3250 h 3382"/>
                <a:gd name="T84" fmla="*/ 264 w 2570"/>
                <a:gd name="T85" fmla="*/ 3318 h 3382"/>
                <a:gd name="T86" fmla="*/ 222 w 2570"/>
                <a:gd name="T87" fmla="*/ 3358 h 3382"/>
                <a:gd name="T88" fmla="*/ 156 w 2570"/>
                <a:gd name="T89" fmla="*/ 3380 h 3382"/>
                <a:gd name="T90" fmla="*/ 100 w 2570"/>
                <a:gd name="T91" fmla="*/ 3376 h 3382"/>
                <a:gd name="T92" fmla="*/ 42 w 2570"/>
                <a:gd name="T93" fmla="*/ 3340 h 3382"/>
                <a:gd name="T94" fmla="*/ 10 w 2570"/>
                <a:gd name="T95" fmla="*/ 3292 h 3382"/>
                <a:gd name="T96" fmla="*/ 0 w 2570"/>
                <a:gd name="T97" fmla="*/ 1290 h 3382"/>
                <a:gd name="T98" fmla="*/ 24 w 2570"/>
                <a:gd name="T99" fmla="*/ 1032 h 3382"/>
                <a:gd name="T100" fmla="*/ 118 w 2570"/>
                <a:gd name="T101" fmla="*/ 738 h 3382"/>
                <a:gd name="T102" fmla="*/ 288 w 2570"/>
                <a:gd name="T103" fmla="*/ 474 h 3382"/>
                <a:gd name="T104" fmla="*/ 472 w 2570"/>
                <a:gd name="T105" fmla="*/ 290 h 3382"/>
                <a:gd name="T106" fmla="*/ 734 w 2570"/>
                <a:gd name="T107" fmla="*/ 120 h 3382"/>
                <a:gd name="T108" fmla="*/ 1028 w 2570"/>
                <a:gd name="T109" fmla="*/ 24 h 3382"/>
                <a:gd name="T110" fmla="*/ 1284 w 2570"/>
                <a:gd name="T111" fmla="*/ 0 h 3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70" h="3382">
                  <a:moveTo>
                    <a:pt x="1284" y="0"/>
                  </a:moveTo>
                  <a:lnTo>
                    <a:pt x="1284" y="0"/>
                  </a:lnTo>
                  <a:lnTo>
                    <a:pt x="1350" y="2"/>
                  </a:lnTo>
                  <a:lnTo>
                    <a:pt x="1414" y="6"/>
                  </a:lnTo>
                  <a:lnTo>
                    <a:pt x="1478" y="14"/>
                  </a:lnTo>
                  <a:lnTo>
                    <a:pt x="1540" y="24"/>
                  </a:lnTo>
                  <a:lnTo>
                    <a:pt x="1600" y="38"/>
                  </a:lnTo>
                  <a:lnTo>
                    <a:pt x="1660" y="54"/>
                  </a:lnTo>
                  <a:lnTo>
                    <a:pt x="1718" y="72"/>
                  </a:lnTo>
                  <a:lnTo>
                    <a:pt x="1776" y="94"/>
                  </a:lnTo>
                  <a:lnTo>
                    <a:pt x="1832" y="120"/>
                  </a:lnTo>
                  <a:lnTo>
                    <a:pt x="1888" y="148"/>
                  </a:lnTo>
                  <a:lnTo>
                    <a:pt x="1940" y="178"/>
                  </a:lnTo>
                  <a:lnTo>
                    <a:pt x="1994" y="212"/>
                  </a:lnTo>
                  <a:lnTo>
                    <a:pt x="2044" y="250"/>
                  </a:lnTo>
                  <a:lnTo>
                    <a:pt x="2094" y="290"/>
                  </a:lnTo>
                  <a:lnTo>
                    <a:pt x="2144" y="332"/>
                  </a:lnTo>
                  <a:lnTo>
                    <a:pt x="2192" y="378"/>
                  </a:lnTo>
                  <a:lnTo>
                    <a:pt x="2192" y="378"/>
                  </a:lnTo>
                  <a:lnTo>
                    <a:pt x="2238" y="426"/>
                  </a:lnTo>
                  <a:lnTo>
                    <a:pt x="2280" y="474"/>
                  </a:lnTo>
                  <a:lnTo>
                    <a:pt x="2320" y="524"/>
                  </a:lnTo>
                  <a:lnTo>
                    <a:pt x="2356" y="576"/>
                  </a:lnTo>
                  <a:lnTo>
                    <a:pt x="2390" y="628"/>
                  </a:lnTo>
                  <a:lnTo>
                    <a:pt x="2422" y="682"/>
                  </a:lnTo>
                  <a:lnTo>
                    <a:pt x="2450" y="738"/>
                  </a:lnTo>
                  <a:lnTo>
                    <a:pt x="2474" y="794"/>
                  </a:lnTo>
                  <a:lnTo>
                    <a:pt x="2496" y="852"/>
                  </a:lnTo>
                  <a:lnTo>
                    <a:pt x="2516" y="910"/>
                  </a:lnTo>
                  <a:lnTo>
                    <a:pt x="2532" y="970"/>
                  </a:lnTo>
                  <a:lnTo>
                    <a:pt x="2546" y="1032"/>
                  </a:lnTo>
                  <a:lnTo>
                    <a:pt x="2556" y="1094"/>
                  </a:lnTo>
                  <a:lnTo>
                    <a:pt x="2564" y="1158"/>
                  </a:lnTo>
                  <a:lnTo>
                    <a:pt x="2568" y="1222"/>
                  </a:lnTo>
                  <a:lnTo>
                    <a:pt x="2570" y="1290"/>
                  </a:lnTo>
                  <a:lnTo>
                    <a:pt x="2570" y="1290"/>
                  </a:lnTo>
                  <a:lnTo>
                    <a:pt x="2568" y="1356"/>
                  </a:lnTo>
                  <a:lnTo>
                    <a:pt x="2564" y="1420"/>
                  </a:lnTo>
                  <a:lnTo>
                    <a:pt x="2556" y="1484"/>
                  </a:lnTo>
                  <a:lnTo>
                    <a:pt x="2546" y="1546"/>
                  </a:lnTo>
                  <a:lnTo>
                    <a:pt x="2532" y="1608"/>
                  </a:lnTo>
                  <a:lnTo>
                    <a:pt x="2516" y="1668"/>
                  </a:lnTo>
                  <a:lnTo>
                    <a:pt x="2496" y="1726"/>
                  </a:lnTo>
                  <a:lnTo>
                    <a:pt x="2474" y="1784"/>
                  </a:lnTo>
                  <a:lnTo>
                    <a:pt x="2450" y="1842"/>
                  </a:lnTo>
                  <a:lnTo>
                    <a:pt x="2422" y="1896"/>
                  </a:lnTo>
                  <a:lnTo>
                    <a:pt x="2390" y="1950"/>
                  </a:lnTo>
                  <a:lnTo>
                    <a:pt x="2356" y="2004"/>
                  </a:lnTo>
                  <a:lnTo>
                    <a:pt x="2320" y="2056"/>
                  </a:lnTo>
                  <a:lnTo>
                    <a:pt x="2280" y="2106"/>
                  </a:lnTo>
                  <a:lnTo>
                    <a:pt x="2238" y="2154"/>
                  </a:lnTo>
                  <a:lnTo>
                    <a:pt x="2192" y="2202"/>
                  </a:lnTo>
                  <a:lnTo>
                    <a:pt x="2192" y="2202"/>
                  </a:lnTo>
                  <a:lnTo>
                    <a:pt x="2144" y="2248"/>
                  </a:lnTo>
                  <a:lnTo>
                    <a:pt x="2094" y="2292"/>
                  </a:lnTo>
                  <a:lnTo>
                    <a:pt x="2044" y="2332"/>
                  </a:lnTo>
                  <a:lnTo>
                    <a:pt x="1994" y="2368"/>
                  </a:lnTo>
                  <a:lnTo>
                    <a:pt x="1940" y="2402"/>
                  </a:lnTo>
                  <a:lnTo>
                    <a:pt x="1888" y="2434"/>
                  </a:lnTo>
                  <a:lnTo>
                    <a:pt x="1832" y="2462"/>
                  </a:lnTo>
                  <a:lnTo>
                    <a:pt x="1776" y="2488"/>
                  </a:lnTo>
                  <a:lnTo>
                    <a:pt x="1718" y="2510"/>
                  </a:lnTo>
                  <a:lnTo>
                    <a:pt x="1660" y="2530"/>
                  </a:lnTo>
                  <a:lnTo>
                    <a:pt x="1600" y="2546"/>
                  </a:lnTo>
                  <a:lnTo>
                    <a:pt x="1540" y="2558"/>
                  </a:lnTo>
                  <a:lnTo>
                    <a:pt x="1478" y="2570"/>
                  </a:lnTo>
                  <a:lnTo>
                    <a:pt x="1414" y="2576"/>
                  </a:lnTo>
                  <a:lnTo>
                    <a:pt x="1350" y="2580"/>
                  </a:lnTo>
                  <a:lnTo>
                    <a:pt x="1284" y="2582"/>
                  </a:lnTo>
                  <a:lnTo>
                    <a:pt x="1284" y="2582"/>
                  </a:lnTo>
                  <a:lnTo>
                    <a:pt x="1230" y="2582"/>
                  </a:lnTo>
                  <a:lnTo>
                    <a:pt x="1176" y="2578"/>
                  </a:lnTo>
                  <a:lnTo>
                    <a:pt x="1124" y="2574"/>
                  </a:lnTo>
                  <a:lnTo>
                    <a:pt x="1072" y="2566"/>
                  </a:lnTo>
                  <a:lnTo>
                    <a:pt x="1020" y="2556"/>
                  </a:lnTo>
                  <a:lnTo>
                    <a:pt x="970" y="2546"/>
                  </a:lnTo>
                  <a:lnTo>
                    <a:pt x="920" y="2532"/>
                  </a:lnTo>
                  <a:lnTo>
                    <a:pt x="872" y="2516"/>
                  </a:lnTo>
                  <a:lnTo>
                    <a:pt x="824" y="2498"/>
                  </a:lnTo>
                  <a:lnTo>
                    <a:pt x="776" y="2478"/>
                  </a:lnTo>
                  <a:lnTo>
                    <a:pt x="730" y="2458"/>
                  </a:lnTo>
                  <a:lnTo>
                    <a:pt x="684" y="2434"/>
                  </a:lnTo>
                  <a:lnTo>
                    <a:pt x="638" y="2408"/>
                  </a:lnTo>
                  <a:lnTo>
                    <a:pt x="594" y="2380"/>
                  </a:lnTo>
                  <a:lnTo>
                    <a:pt x="550" y="2350"/>
                  </a:lnTo>
                  <a:lnTo>
                    <a:pt x="508" y="2318"/>
                  </a:lnTo>
                  <a:lnTo>
                    <a:pt x="508" y="1916"/>
                  </a:lnTo>
                  <a:lnTo>
                    <a:pt x="508" y="1916"/>
                  </a:lnTo>
                  <a:lnTo>
                    <a:pt x="546" y="1962"/>
                  </a:lnTo>
                  <a:lnTo>
                    <a:pt x="584" y="2004"/>
                  </a:lnTo>
                  <a:lnTo>
                    <a:pt x="626" y="2044"/>
                  </a:lnTo>
                  <a:lnTo>
                    <a:pt x="668" y="2080"/>
                  </a:lnTo>
                  <a:lnTo>
                    <a:pt x="710" y="2114"/>
                  </a:lnTo>
                  <a:lnTo>
                    <a:pt x="756" y="2144"/>
                  </a:lnTo>
                  <a:lnTo>
                    <a:pt x="802" y="2172"/>
                  </a:lnTo>
                  <a:lnTo>
                    <a:pt x="850" y="2198"/>
                  </a:lnTo>
                  <a:lnTo>
                    <a:pt x="900" y="2220"/>
                  </a:lnTo>
                  <a:lnTo>
                    <a:pt x="950" y="2238"/>
                  </a:lnTo>
                  <a:lnTo>
                    <a:pt x="1002" y="2254"/>
                  </a:lnTo>
                  <a:lnTo>
                    <a:pt x="1056" y="2268"/>
                  </a:lnTo>
                  <a:lnTo>
                    <a:pt x="1110" y="2278"/>
                  </a:lnTo>
                  <a:lnTo>
                    <a:pt x="1168" y="2286"/>
                  </a:lnTo>
                  <a:lnTo>
                    <a:pt x="1226" y="2290"/>
                  </a:lnTo>
                  <a:lnTo>
                    <a:pt x="1284" y="2292"/>
                  </a:lnTo>
                  <a:lnTo>
                    <a:pt x="1284" y="2292"/>
                  </a:lnTo>
                  <a:lnTo>
                    <a:pt x="1336" y="2290"/>
                  </a:lnTo>
                  <a:lnTo>
                    <a:pt x="1386" y="2286"/>
                  </a:lnTo>
                  <a:lnTo>
                    <a:pt x="1434" y="2280"/>
                  </a:lnTo>
                  <a:lnTo>
                    <a:pt x="1482" y="2272"/>
                  </a:lnTo>
                  <a:lnTo>
                    <a:pt x="1530" y="2262"/>
                  </a:lnTo>
                  <a:lnTo>
                    <a:pt x="1576" y="2250"/>
                  </a:lnTo>
                  <a:lnTo>
                    <a:pt x="1620" y="2234"/>
                  </a:lnTo>
                  <a:lnTo>
                    <a:pt x="1666" y="2218"/>
                  </a:lnTo>
                  <a:lnTo>
                    <a:pt x="1708" y="2198"/>
                  </a:lnTo>
                  <a:lnTo>
                    <a:pt x="1752" y="2176"/>
                  </a:lnTo>
                  <a:lnTo>
                    <a:pt x="1792" y="2152"/>
                  </a:lnTo>
                  <a:lnTo>
                    <a:pt x="1834" y="2126"/>
                  </a:lnTo>
                  <a:lnTo>
                    <a:pt x="1874" y="2098"/>
                  </a:lnTo>
                  <a:lnTo>
                    <a:pt x="1912" y="2066"/>
                  </a:lnTo>
                  <a:lnTo>
                    <a:pt x="1950" y="2034"/>
                  </a:lnTo>
                  <a:lnTo>
                    <a:pt x="1986" y="1998"/>
                  </a:lnTo>
                  <a:lnTo>
                    <a:pt x="1986" y="1998"/>
                  </a:lnTo>
                  <a:lnTo>
                    <a:pt x="2022" y="1960"/>
                  </a:lnTo>
                  <a:lnTo>
                    <a:pt x="2054" y="1922"/>
                  </a:lnTo>
                  <a:lnTo>
                    <a:pt x="2086" y="1884"/>
                  </a:lnTo>
                  <a:lnTo>
                    <a:pt x="2114" y="1844"/>
                  </a:lnTo>
                  <a:lnTo>
                    <a:pt x="2140" y="1802"/>
                  </a:lnTo>
                  <a:lnTo>
                    <a:pt x="2164" y="1760"/>
                  </a:lnTo>
                  <a:lnTo>
                    <a:pt x="2186" y="1718"/>
                  </a:lnTo>
                  <a:lnTo>
                    <a:pt x="2204" y="1674"/>
                  </a:lnTo>
                  <a:lnTo>
                    <a:pt x="2222" y="1628"/>
                  </a:lnTo>
                  <a:lnTo>
                    <a:pt x="2236" y="1584"/>
                  </a:lnTo>
                  <a:lnTo>
                    <a:pt x="2250" y="1536"/>
                  </a:lnTo>
                  <a:lnTo>
                    <a:pt x="2260" y="1488"/>
                  </a:lnTo>
                  <a:lnTo>
                    <a:pt x="2268" y="1440"/>
                  </a:lnTo>
                  <a:lnTo>
                    <a:pt x="2274" y="1390"/>
                  </a:lnTo>
                  <a:lnTo>
                    <a:pt x="2276" y="1340"/>
                  </a:lnTo>
                  <a:lnTo>
                    <a:pt x="2278" y="1290"/>
                  </a:lnTo>
                  <a:lnTo>
                    <a:pt x="2278" y="1290"/>
                  </a:lnTo>
                  <a:lnTo>
                    <a:pt x="2276" y="1238"/>
                  </a:lnTo>
                  <a:lnTo>
                    <a:pt x="2274" y="1188"/>
                  </a:lnTo>
                  <a:lnTo>
                    <a:pt x="2268" y="1138"/>
                  </a:lnTo>
                  <a:lnTo>
                    <a:pt x="2260" y="1090"/>
                  </a:lnTo>
                  <a:lnTo>
                    <a:pt x="2250" y="1042"/>
                  </a:lnTo>
                  <a:lnTo>
                    <a:pt x="2236" y="994"/>
                  </a:lnTo>
                  <a:lnTo>
                    <a:pt x="2222" y="950"/>
                  </a:lnTo>
                  <a:lnTo>
                    <a:pt x="2204" y="904"/>
                  </a:lnTo>
                  <a:lnTo>
                    <a:pt x="2186" y="860"/>
                  </a:lnTo>
                  <a:lnTo>
                    <a:pt x="2164" y="818"/>
                  </a:lnTo>
                  <a:lnTo>
                    <a:pt x="2140" y="776"/>
                  </a:lnTo>
                  <a:lnTo>
                    <a:pt x="2114" y="734"/>
                  </a:lnTo>
                  <a:lnTo>
                    <a:pt x="2086" y="694"/>
                  </a:lnTo>
                  <a:lnTo>
                    <a:pt x="2054" y="656"/>
                  </a:lnTo>
                  <a:lnTo>
                    <a:pt x="2022" y="618"/>
                  </a:lnTo>
                  <a:lnTo>
                    <a:pt x="1986" y="580"/>
                  </a:lnTo>
                  <a:lnTo>
                    <a:pt x="1986" y="580"/>
                  </a:lnTo>
                  <a:lnTo>
                    <a:pt x="1950" y="546"/>
                  </a:lnTo>
                  <a:lnTo>
                    <a:pt x="1912" y="512"/>
                  </a:lnTo>
                  <a:lnTo>
                    <a:pt x="1874" y="480"/>
                  </a:lnTo>
                  <a:lnTo>
                    <a:pt x="1834" y="452"/>
                  </a:lnTo>
                  <a:lnTo>
                    <a:pt x="1792" y="426"/>
                  </a:lnTo>
                  <a:lnTo>
                    <a:pt x="1752" y="402"/>
                  </a:lnTo>
                  <a:lnTo>
                    <a:pt x="1708" y="380"/>
                  </a:lnTo>
                  <a:lnTo>
                    <a:pt x="1666" y="360"/>
                  </a:lnTo>
                  <a:lnTo>
                    <a:pt x="1620" y="344"/>
                  </a:lnTo>
                  <a:lnTo>
                    <a:pt x="1576" y="328"/>
                  </a:lnTo>
                  <a:lnTo>
                    <a:pt x="1530" y="316"/>
                  </a:lnTo>
                  <a:lnTo>
                    <a:pt x="1482" y="306"/>
                  </a:lnTo>
                  <a:lnTo>
                    <a:pt x="1434" y="298"/>
                  </a:lnTo>
                  <a:lnTo>
                    <a:pt x="1386" y="292"/>
                  </a:lnTo>
                  <a:lnTo>
                    <a:pt x="1336" y="288"/>
                  </a:lnTo>
                  <a:lnTo>
                    <a:pt x="1284" y="288"/>
                  </a:lnTo>
                  <a:lnTo>
                    <a:pt x="1284" y="288"/>
                  </a:lnTo>
                  <a:lnTo>
                    <a:pt x="1234" y="288"/>
                  </a:lnTo>
                  <a:lnTo>
                    <a:pt x="1182" y="292"/>
                  </a:lnTo>
                  <a:lnTo>
                    <a:pt x="1134" y="298"/>
                  </a:lnTo>
                  <a:lnTo>
                    <a:pt x="1084" y="306"/>
                  </a:lnTo>
                  <a:lnTo>
                    <a:pt x="1038" y="316"/>
                  </a:lnTo>
                  <a:lnTo>
                    <a:pt x="990" y="328"/>
                  </a:lnTo>
                  <a:lnTo>
                    <a:pt x="946" y="344"/>
                  </a:lnTo>
                  <a:lnTo>
                    <a:pt x="900" y="360"/>
                  </a:lnTo>
                  <a:lnTo>
                    <a:pt x="856" y="380"/>
                  </a:lnTo>
                  <a:lnTo>
                    <a:pt x="814" y="402"/>
                  </a:lnTo>
                  <a:lnTo>
                    <a:pt x="772" y="426"/>
                  </a:lnTo>
                  <a:lnTo>
                    <a:pt x="732" y="452"/>
                  </a:lnTo>
                  <a:lnTo>
                    <a:pt x="692" y="480"/>
                  </a:lnTo>
                  <a:lnTo>
                    <a:pt x="654" y="512"/>
                  </a:lnTo>
                  <a:lnTo>
                    <a:pt x="616" y="546"/>
                  </a:lnTo>
                  <a:lnTo>
                    <a:pt x="578" y="580"/>
                  </a:lnTo>
                  <a:lnTo>
                    <a:pt x="578" y="580"/>
                  </a:lnTo>
                  <a:lnTo>
                    <a:pt x="544" y="618"/>
                  </a:lnTo>
                  <a:lnTo>
                    <a:pt x="510" y="656"/>
                  </a:lnTo>
                  <a:lnTo>
                    <a:pt x="480" y="694"/>
                  </a:lnTo>
                  <a:lnTo>
                    <a:pt x="450" y="734"/>
                  </a:lnTo>
                  <a:lnTo>
                    <a:pt x="424" y="776"/>
                  </a:lnTo>
                  <a:lnTo>
                    <a:pt x="400" y="818"/>
                  </a:lnTo>
                  <a:lnTo>
                    <a:pt x="380" y="860"/>
                  </a:lnTo>
                  <a:lnTo>
                    <a:pt x="360" y="904"/>
                  </a:lnTo>
                  <a:lnTo>
                    <a:pt x="342" y="950"/>
                  </a:lnTo>
                  <a:lnTo>
                    <a:pt x="328" y="994"/>
                  </a:lnTo>
                  <a:lnTo>
                    <a:pt x="316" y="1042"/>
                  </a:lnTo>
                  <a:lnTo>
                    <a:pt x="306" y="1090"/>
                  </a:lnTo>
                  <a:lnTo>
                    <a:pt x="298" y="1138"/>
                  </a:lnTo>
                  <a:lnTo>
                    <a:pt x="292" y="1188"/>
                  </a:lnTo>
                  <a:lnTo>
                    <a:pt x="288" y="1238"/>
                  </a:lnTo>
                  <a:lnTo>
                    <a:pt x="288" y="1290"/>
                  </a:lnTo>
                  <a:lnTo>
                    <a:pt x="288" y="1302"/>
                  </a:lnTo>
                  <a:lnTo>
                    <a:pt x="288" y="3236"/>
                  </a:lnTo>
                  <a:lnTo>
                    <a:pt x="288" y="3236"/>
                  </a:lnTo>
                  <a:lnTo>
                    <a:pt x="286" y="3250"/>
                  </a:lnTo>
                  <a:lnTo>
                    <a:pt x="284" y="3266"/>
                  </a:lnTo>
                  <a:lnTo>
                    <a:pt x="282" y="3280"/>
                  </a:lnTo>
                  <a:lnTo>
                    <a:pt x="276" y="3292"/>
                  </a:lnTo>
                  <a:lnTo>
                    <a:pt x="270" y="3306"/>
                  </a:lnTo>
                  <a:lnTo>
                    <a:pt x="264" y="3318"/>
                  </a:lnTo>
                  <a:lnTo>
                    <a:pt x="254" y="3328"/>
                  </a:lnTo>
                  <a:lnTo>
                    <a:pt x="246" y="3340"/>
                  </a:lnTo>
                  <a:lnTo>
                    <a:pt x="246" y="3340"/>
                  </a:lnTo>
                  <a:lnTo>
                    <a:pt x="234" y="3350"/>
                  </a:lnTo>
                  <a:lnTo>
                    <a:pt x="222" y="3358"/>
                  </a:lnTo>
                  <a:lnTo>
                    <a:pt x="210" y="3364"/>
                  </a:lnTo>
                  <a:lnTo>
                    <a:pt x="198" y="3370"/>
                  </a:lnTo>
                  <a:lnTo>
                    <a:pt x="184" y="3376"/>
                  </a:lnTo>
                  <a:lnTo>
                    <a:pt x="172" y="3378"/>
                  </a:lnTo>
                  <a:lnTo>
                    <a:pt x="156" y="3380"/>
                  </a:lnTo>
                  <a:lnTo>
                    <a:pt x="142" y="3382"/>
                  </a:lnTo>
                  <a:lnTo>
                    <a:pt x="142" y="3382"/>
                  </a:lnTo>
                  <a:lnTo>
                    <a:pt x="128" y="3380"/>
                  </a:lnTo>
                  <a:lnTo>
                    <a:pt x="114" y="3378"/>
                  </a:lnTo>
                  <a:lnTo>
                    <a:pt x="100" y="3376"/>
                  </a:lnTo>
                  <a:lnTo>
                    <a:pt x="88" y="3370"/>
                  </a:lnTo>
                  <a:lnTo>
                    <a:pt x="76" y="3364"/>
                  </a:lnTo>
                  <a:lnTo>
                    <a:pt x="64" y="3358"/>
                  </a:lnTo>
                  <a:lnTo>
                    <a:pt x="52" y="3350"/>
                  </a:lnTo>
                  <a:lnTo>
                    <a:pt x="42" y="3340"/>
                  </a:lnTo>
                  <a:lnTo>
                    <a:pt x="42" y="3340"/>
                  </a:lnTo>
                  <a:lnTo>
                    <a:pt x="32" y="3328"/>
                  </a:lnTo>
                  <a:lnTo>
                    <a:pt x="24" y="3318"/>
                  </a:lnTo>
                  <a:lnTo>
                    <a:pt x="16" y="3306"/>
                  </a:lnTo>
                  <a:lnTo>
                    <a:pt x="10" y="3292"/>
                  </a:lnTo>
                  <a:lnTo>
                    <a:pt x="6" y="3280"/>
                  </a:lnTo>
                  <a:lnTo>
                    <a:pt x="2" y="3266"/>
                  </a:lnTo>
                  <a:lnTo>
                    <a:pt x="0" y="3250"/>
                  </a:lnTo>
                  <a:lnTo>
                    <a:pt x="0" y="3236"/>
                  </a:lnTo>
                  <a:lnTo>
                    <a:pt x="0" y="1290"/>
                  </a:lnTo>
                  <a:lnTo>
                    <a:pt x="0" y="1290"/>
                  </a:lnTo>
                  <a:lnTo>
                    <a:pt x="2" y="1222"/>
                  </a:lnTo>
                  <a:lnTo>
                    <a:pt x="6" y="1158"/>
                  </a:lnTo>
                  <a:lnTo>
                    <a:pt x="14" y="1094"/>
                  </a:lnTo>
                  <a:lnTo>
                    <a:pt x="24" y="1032"/>
                  </a:lnTo>
                  <a:lnTo>
                    <a:pt x="36" y="970"/>
                  </a:lnTo>
                  <a:lnTo>
                    <a:pt x="52" y="910"/>
                  </a:lnTo>
                  <a:lnTo>
                    <a:pt x="72" y="852"/>
                  </a:lnTo>
                  <a:lnTo>
                    <a:pt x="94" y="794"/>
                  </a:lnTo>
                  <a:lnTo>
                    <a:pt x="118" y="738"/>
                  </a:lnTo>
                  <a:lnTo>
                    <a:pt x="146" y="682"/>
                  </a:lnTo>
                  <a:lnTo>
                    <a:pt x="178" y="628"/>
                  </a:lnTo>
                  <a:lnTo>
                    <a:pt x="212" y="576"/>
                  </a:lnTo>
                  <a:lnTo>
                    <a:pt x="248" y="524"/>
                  </a:lnTo>
                  <a:lnTo>
                    <a:pt x="288" y="474"/>
                  </a:lnTo>
                  <a:lnTo>
                    <a:pt x="330" y="426"/>
                  </a:lnTo>
                  <a:lnTo>
                    <a:pt x="376" y="378"/>
                  </a:lnTo>
                  <a:lnTo>
                    <a:pt x="376" y="378"/>
                  </a:lnTo>
                  <a:lnTo>
                    <a:pt x="422" y="332"/>
                  </a:lnTo>
                  <a:lnTo>
                    <a:pt x="472" y="290"/>
                  </a:lnTo>
                  <a:lnTo>
                    <a:pt x="522" y="250"/>
                  </a:lnTo>
                  <a:lnTo>
                    <a:pt x="572" y="212"/>
                  </a:lnTo>
                  <a:lnTo>
                    <a:pt x="626" y="178"/>
                  </a:lnTo>
                  <a:lnTo>
                    <a:pt x="680" y="148"/>
                  </a:lnTo>
                  <a:lnTo>
                    <a:pt x="734" y="120"/>
                  </a:lnTo>
                  <a:lnTo>
                    <a:pt x="790" y="94"/>
                  </a:lnTo>
                  <a:lnTo>
                    <a:pt x="848" y="72"/>
                  </a:lnTo>
                  <a:lnTo>
                    <a:pt x="906" y="54"/>
                  </a:lnTo>
                  <a:lnTo>
                    <a:pt x="966" y="38"/>
                  </a:lnTo>
                  <a:lnTo>
                    <a:pt x="1028" y="24"/>
                  </a:lnTo>
                  <a:lnTo>
                    <a:pt x="1090" y="14"/>
                  </a:lnTo>
                  <a:lnTo>
                    <a:pt x="1154" y="6"/>
                  </a:lnTo>
                  <a:lnTo>
                    <a:pt x="1218" y="2"/>
                  </a:lnTo>
                  <a:lnTo>
                    <a:pt x="1284" y="0"/>
                  </a:lnTo>
                  <a:lnTo>
                    <a:pt x="1284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70" name="Freeform 7"/>
            <p:cNvSpPr>
              <a:spLocks/>
            </p:cNvSpPr>
            <p:nvPr userDrawn="1"/>
          </p:nvSpPr>
          <p:spPr bwMode="auto">
            <a:xfrm>
              <a:off x="3500163" y="3272280"/>
              <a:ext cx="189553" cy="191185"/>
            </a:xfrm>
            <a:custGeom>
              <a:avLst/>
              <a:gdLst>
                <a:gd name="T0" fmla="*/ 628 w 2556"/>
                <a:gd name="T1" fmla="*/ 1210 h 2578"/>
                <a:gd name="T2" fmla="*/ 670 w 2556"/>
                <a:gd name="T3" fmla="*/ 1154 h 2578"/>
                <a:gd name="T4" fmla="*/ 744 w 2556"/>
                <a:gd name="T5" fmla="*/ 1122 h 2578"/>
                <a:gd name="T6" fmla="*/ 2188 w 2556"/>
                <a:gd name="T7" fmla="*/ 988 h 2578"/>
                <a:gd name="T8" fmla="*/ 2078 w 2556"/>
                <a:gd name="T9" fmla="*/ 748 h 2578"/>
                <a:gd name="T10" fmla="*/ 1916 w 2556"/>
                <a:gd name="T11" fmla="*/ 548 h 2578"/>
                <a:gd name="T12" fmla="*/ 1750 w 2556"/>
                <a:gd name="T13" fmla="*/ 416 h 2578"/>
                <a:gd name="T14" fmla="*/ 1530 w 2556"/>
                <a:gd name="T15" fmla="*/ 316 h 2578"/>
                <a:gd name="T16" fmla="*/ 1288 w 2556"/>
                <a:gd name="T17" fmla="*/ 284 h 2578"/>
                <a:gd name="T18" fmla="*/ 1094 w 2556"/>
                <a:gd name="T19" fmla="*/ 302 h 2578"/>
                <a:gd name="T20" fmla="*/ 878 w 2556"/>
                <a:gd name="T21" fmla="*/ 378 h 2578"/>
                <a:gd name="T22" fmla="*/ 712 w 2556"/>
                <a:gd name="T23" fmla="*/ 482 h 2578"/>
                <a:gd name="T24" fmla="*/ 544 w 2556"/>
                <a:gd name="T25" fmla="*/ 648 h 2578"/>
                <a:gd name="T26" fmla="*/ 422 w 2556"/>
                <a:gd name="T27" fmla="*/ 850 h 2578"/>
                <a:gd name="T28" fmla="*/ 350 w 2556"/>
                <a:gd name="T29" fmla="*/ 1064 h 2578"/>
                <a:gd name="T30" fmla="*/ 324 w 2556"/>
                <a:gd name="T31" fmla="*/ 1400 h 2578"/>
                <a:gd name="T32" fmla="*/ 352 w 2556"/>
                <a:gd name="T33" fmla="*/ 1584 h 2578"/>
                <a:gd name="T34" fmla="*/ 450 w 2556"/>
                <a:gd name="T35" fmla="*/ 1822 h 2578"/>
                <a:gd name="T36" fmla="*/ 624 w 2556"/>
                <a:gd name="T37" fmla="*/ 2032 h 2578"/>
                <a:gd name="T38" fmla="*/ 808 w 2556"/>
                <a:gd name="T39" fmla="*/ 2170 h 2578"/>
                <a:gd name="T40" fmla="*/ 1054 w 2556"/>
                <a:gd name="T41" fmla="*/ 2268 h 2578"/>
                <a:gd name="T42" fmla="*/ 1280 w 2556"/>
                <a:gd name="T43" fmla="*/ 2296 h 2578"/>
                <a:gd name="T44" fmla="*/ 1640 w 2556"/>
                <a:gd name="T45" fmla="*/ 2220 h 2578"/>
                <a:gd name="T46" fmla="*/ 1910 w 2556"/>
                <a:gd name="T47" fmla="*/ 2046 h 2578"/>
                <a:gd name="T48" fmla="*/ 2118 w 2556"/>
                <a:gd name="T49" fmla="*/ 1788 h 2578"/>
                <a:gd name="T50" fmla="*/ 2222 w 2556"/>
                <a:gd name="T51" fmla="*/ 1706 h 2578"/>
                <a:gd name="T52" fmla="*/ 2314 w 2556"/>
                <a:gd name="T53" fmla="*/ 1708 h 2578"/>
                <a:gd name="T54" fmla="*/ 2382 w 2556"/>
                <a:gd name="T55" fmla="*/ 1748 h 2578"/>
                <a:gd name="T56" fmla="*/ 2428 w 2556"/>
                <a:gd name="T57" fmla="*/ 1834 h 2578"/>
                <a:gd name="T58" fmla="*/ 2414 w 2556"/>
                <a:gd name="T59" fmla="*/ 1940 h 2578"/>
                <a:gd name="T60" fmla="*/ 2306 w 2556"/>
                <a:gd name="T61" fmla="*/ 2102 h 2578"/>
                <a:gd name="T62" fmla="*/ 2136 w 2556"/>
                <a:gd name="T63" fmla="*/ 2276 h 2578"/>
                <a:gd name="T64" fmla="*/ 1930 w 2556"/>
                <a:gd name="T65" fmla="*/ 2416 h 2578"/>
                <a:gd name="T66" fmla="*/ 1740 w 2556"/>
                <a:gd name="T67" fmla="*/ 2502 h 2578"/>
                <a:gd name="T68" fmla="*/ 1496 w 2556"/>
                <a:gd name="T69" fmla="*/ 2562 h 2578"/>
                <a:gd name="T70" fmla="*/ 1280 w 2556"/>
                <a:gd name="T71" fmla="*/ 2578 h 2578"/>
                <a:gd name="T72" fmla="*/ 962 w 2556"/>
                <a:gd name="T73" fmla="*/ 2542 h 2578"/>
                <a:gd name="T74" fmla="*/ 622 w 2556"/>
                <a:gd name="T75" fmla="*/ 2402 h 2578"/>
                <a:gd name="T76" fmla="*/ 372 w 2556"/>
                <a:gd name="T77" fmla="*/ 2204 h 2578"/>
                <a:gd name="T78" fmla="*/ 146 w 2556"/>
                <a:gd name="T79" fmla="*/ 1900 h 2578"/>
                <a:gd name="T80" fmla="*/ 22 w 2556"/>
                <a:gd name="T81" fmla="*/ 1552 h 2578"/>
                <a:gd name="T82" fmla="*/ 0 w 2556"/>
                <a:gd name="T83" fmla="*/ 1228 h 2578"/>
                <a:gd name="T84" fmla="*/ 70 w 2556"/>
                <a:gd name="T85" fmla="*/ 854 h 2578"/>
                <a:gd name="T86" fmla="*/ 246 w 2556"/>
                <a:gd name="T87" fmla="*/ 526 h 2578"/>
                <a:gd name="T88" fmla="*/ 468 w 2556"/>
                <a:gd name="T89" fmla="*/ 290 h 2578"/>
                <a:gd name="T90" fmla="*/ 786 w 2556"/>
                <a:gd name="T91" fmla="*/ 96 h 2578"/>
                <a:gd name="T92" fmla="*/ 1148 w 2556"/>
                <a:gd name="T93" fmla="*/ 6 h 2578"/>
                <a:gd name="T94" fmla="*/ 1408 w 2556"/>
                <a:gd name="T95" fmla="*/ 8 h 2578"/>
                <a:gd name="T96" fmla="*/ 1658 w 2556"/>
                <a:gd name="T97" fmla="*/ 60 h 2578"/>
                <a:gd name="T98" fmla="*/ 1894 w 2556"/>
                <a:gd name="T99" fmla="*/ 164 h 2578"/>
                <a:gd name="T100" fmla="*/ 2076 w 2556"/>
                <a:gd name="T101" fmla="*/ 288 h 2578"/>
                <a:gd name="T102" fmla="*/ 2260 w 2556"/>
                <a:gd name="T103" fmla="*/ 468 h 2578"/>
                <a:gd name="T104" fmla="*/ 2406 w 2556"/>
                <a:gd name="T105" fmla="*/ 686 h 2578"/>
                <a:gd name="T106" fmla="*/ 2522 w 2556"/>
                <a:gd name="T107" fmla="*/ 1016 h 2578"/>
                <a:gd name="T108" fmla="*/ 2556 w 2556"/>
                <a:gd name="T109" fmla="*/ 1290 h 2578"/>
                <a:gd name="T110" fmla="*/ 2524 w 2556"/>
                <a:gd name="T111" fmla="*/ 1370 h 2578"/>
                <a:gd name="T112" fmla="*/ 2444 w 2556"/>
                <a:gd name="T113" fmla="*/ 1406 h 2578"/>
                <a:gd name="T114" fmla="*/ 730 w 2556"/>
                <a:gd name="T115" fmla="*/ 1406 h 2578"/>
                <a:gd name="T116" fmla="*/ 660 w 2556"/>
                <a:gd name="T117" fmla="*/ 1368 h 2578"/>
                <a:gd name="T118" fmla="*/ 624 w 2556"/>
                <a:gd name="T119" fmla="*/ 1306 h 2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56" h="2578">
                  <a:moveTo>
                    <a:pt x="618" y="1264"/>
                  </a:moveTo>
                  <a:lnTo>
                    <a:pt x="618" y="1264"/>
                  </a:lnTo>
                  <a:lnTo>
                    <a:pt x="618" y="1250"/>
                  </a:lnTo>
                  <a:lnTo>
                    <a:pt x="620" y="1236"/>
                  </a:lnTo>
                  <a:lnTo>
                    <a:pt x="624" y="1222"/>
                  </a:lnTo>
                  <a:lnTo>
                    <a:pt x="628" y="1210"/>
                  </a:lnTo>
                  <a:lnTo>
                    <a:pt x="634" y="1198"/>
                  </a:lnTo>
                  <a:lnTo>
                    <a:pt x="640" y="1186"/>
                  </a:lnTo>
                  <a:lnTo>
                    <a:pt x="650" y="1174"/>
                  </a:lnTo>
                  <a:lnTo>
                    <a:pt x="660" y="1164"/>
                  </a:lnTo>
                  <a:lnTo>
                    <a:pt x="660" y="1164"/>
                  </a:lnTo>
                  <a:lnTo>
                    <a:pt x="670" y="1154"/>
                  </a:lnTo>
                  <a:lnTo>
                    <a:pt x="682" y="1146"/>
                  </a:lnTo>
                  <a:lnTo>
                    <a:pt x="692" y="1138"/>
                  </a:lnTo>
                  <a:lnTo>
                    <a:pt x="706" y="1132"/>
                  </a:lnTo>
                  <a:lnTo>
                    <a:pt x="718" y="1128"/>
                  </a:lnTo>
                  <a:lnTo>
                    <a:pt x="730" y="1124"/>
                  </a:lnTo>
                  <a:lnTo>
                    <a:pt x="744" y="1122"/>
                  </a:lnTo>
                  <a:lnTo>
                    <a:pt x="758" y="1122"/>
                  </a:lnTo>
                  <a:lnTo>
                    <a:pt x="2224" y="1122"/>
                  </a:lnTo>
                  <a:lnTo>
                    <a:pt x="2224" y="1122"/>
                  </a:lnTo>
                  <a:lnTo>
                    <a:pt x="2214" y="1076"/>
                  </a:lnTo>
                  <a:lnTo>
                    <a:pt x="2202" y="1032"/>
                  </a:lnTo>
                  <a:lnTo>
                    <a:pt x="2188" y="988"/>
                  </a:lnTo>
                  <a:lnTo>
                    <a:pt x="2174" y="946"/>
                  </a:lnTo>
                  <a:lnTo>
                    <a:pt x="2156" y="904"/>
                  </a:lnTo>
                  <a:lnTo>
                    <a:pt x="2140" y="864"/>
                  </a:lnTo>
                  <a:lnTo>
                    <a:pt x="2120" y="824"/>
                  </a:lnTo>
                  <a:lnTo>
                    <a:pt x="2100" y="786"/>
                  </a:lnTo>
                  <a:lnTo>
                    <a:pt x="2078" y="748"/>
                  </a:lnTo>
                  <a:lnTo>
                    <a:pt x="2054" y="712"/>
                  </a:lnTo>
                  <a:lnTo>
                    <a:pt x="2030" y="678"/>
                  </a:lnTo>
                  <a:lnTo>
                    <a:pt x="2004" y="642"/>
                  </a:lnTo>
                  <a:lnTo>
                    <a:pt x="1976" y="610"/>
                  </a:lnTo>
                  <a:lnTo>
                    <a:pt x="1946" y="578"/>
                  </a:lnTo>
                  <a:lnTo>
                    <a:pt x="1916" y="548"/>
                  </a:lnTo>
                  <a:lnTo>
                    <a:pt x="1884" y="518"/>
                  </a:lnTo>
                  <a:lnTo>
                    <a:pt x="1884" y="518"/>
                  </a:lnTo>
                  <a:lnTo>
                    <a:pt x="1852" y="490"/>
                  </a:lnTo>
                  <a:lnTo>
                    <a:pt x="1818" y="462"/>
                  </a:lnTo>
                  <a:lnTo>
                    <a:pt x="1784" y="438"/>
                  </a:lnTo>
                  <a:lnTo>
                    <a:pt x="1750" y="416"/>
                  </a:lnTo>
                  <a:lnTo>
                    <a:pt x="1714" y="394"/>
                  </a:lnTo>
                  <a:lnTo>
                    <a:pt x="1678" y="374"/>
                  </a:lnTo>
                  <a:lnTo>
                    <a:pt x="1642" y="358"/>
                  </a:lnTo>
                  <a:lnTo>
                    <a:pt x="1604" y="342"/>
                  </a:lnTo>
                  <a:lnTo>
                    <a:pt x="1568" y="328"/>
                  </a:lnTo>
                  <a:lnTo>
                    <a:pt x="1530" y="316"/>
                  </a:lnTo>
                  <a:lnTo>
                    <a:pt x="1490" y="306"/>
                  </a:lnTo>
                  <a:lnTo>
                    <a:pt x="1452" y="298"/>
                  </a:lnTo>
                  <a:lnTo>
                    <a:pt x="1412" y="292"/>
                  </a:lnTo>
                  <a:lnTo>
                    <a:pt x="1370" y="288"/>
                  </a:lnTo>
                  <a:lnTo>
                    <a:pt x="1330" y="284"/>
                  </a:lnTo>
                  <a:lnTo>
                    <a:pt x="1288" y="284"/>
                  </a:lnTo>
                  <a:lnTo>
                    <a:pt x="1288" y="284"/>
                  </a:lnTo>
                  <a:lnTo>
                    <a:pt x="1248" y="284"/>
                  </a:lnTo>
                  <a:lnTo>
                    <a:pt x="1208" y="286"/>
                  </a:lnTo>
                  <a:lnTo>
                    <a:pt x="1170" y="290"/>
                  </a:lnTo>
                  <a:lnTo>
                    <a:pt x="1132" y="296"/>
                  </a:lnTo>
                  <a:lnTo>
                    <a:pt x="1094" y="302"/>
                  </a:lnTo>
                  <a:lnTo>
                    <a:pt x="1056" y="312"/>
                  </a:lnTo>
                  <a:lnTo>
                    <a:pt x="1020" y="322"/>
                  </a:lnTo>
                  <a:lnTo>
                    <a:pt x="984" y="334"/>
                  </a:lnTo>
                  <a:lnTo>
                    <a:pt x="948" y="346"/>
                  </a:lnTo>
                  <a:lnTo>
                    <a:pt x="912" y="362"/>
                  </a:lnTo>
                  <a:lnTo>
                    <a:pt x="878" y="378"/>
                  </a:lnTo>
                  <a:lnTo>
                    <a:pt x="844" y="396"/>
                  </a:lnTo>
                  <a:lnTo>
                    <a:pt x="810" y="414"/>
                  </a:lnTo>
                  <a:lnTo>
                    <a:pt x="776" y="436"/>
                  </a:lnTo>
                  <a:lnTo>
                    <a:pt x="744" y="458"/>
                  </a:lnTo>
                  <a:lnTo>
                    <a:pt x="712" y="482"/>
                  </a:lnTo>
                  <a:lnTo>
                    <a:pt x="712" y="482"/>
                  </a:lnTo>
                  <a:lnTo>
                    <a:pt x="682" y="508"/>
                  </a:lnTo>
                  <a:lnTo>
                    <a:pt x="652" y="534"/>
                  </a:lnTo>
                  <a:lnTo>
                    <a:pt x="622" y="560"/>
                  </a:lnTo>
                  <a:lnTo>
                    <a:pt x="596" y="590"/>
                  </a:lnTo>
                  <a:lnTo>
                    <a:pt x="570" y="618"/>
                  </a:lnTo>
                  <a:lnTo>
                    <a:pt x="544" y="648"/>
                  </a:lnTo>
                  <a:lnTo>
                    <a:pt x="522" y="680"/>
                  </a:lnTo>
                  <a:lnTo>
                    <a:pt x="498" y="712"/>
                  </a:lnTo>
                  <a:lnTo>
                    <a:pt x="478" y="744"/>
                  </a:lnTo>
                  <a:lnTo>
                    <a:pt x="458" y="778"/>
                  </a:lnTo>
                  <a:lnTo>
                    <a:pt x="440" y="814"/>
                  </a:lnTo>
                  <a:lnTo>
                    <a:pt x="422" y="850"/>
                  </a:lnTo>
                  <a:lnTo>
                    <a:pt x="406" y="886"/>
                  </a:lnTo>
                  <a:lnTo>
                    <a:pt x="392" y="924"/>
                  </a:lnTo>
                  <a:lnTo>
                    <a:pt x="378" y="964"/>
                  </a:lnTo>
                  <a:lnTo>
                    <a:pt x="366" y="1002"/>
                  </a:lnTo>
                  <a:lnTo>
                    <a:pt x="366" y="1002"/>
                  </a:lnTo>
                  <a:lnTo>
                    <a:pt x="350" y="1064"/>
                  </a:lnTo>
                  <a:lnTo>
                    <a:pt x="338" y="1126"/>
                  </a:lnTo>
                  <a:lnTo>
                    <a:pt x="328" y="1192"/>
                  </a:lnTo>
                  <a:lnTo>
                    <a:pt x="322" y="1258"/>
                  </a:lnTo>
                  <a:lnTo>
                    <a:pt x="322" y="1258"/>
                  </a:lnTo>
                  <a:lnTo>
                    <a:pt x="322" y="1372"/>
                  </a:lnTo>
                  <a:lnTo>
                    <a:pt x="324" y="1400"/>
                  </a:lnTo>
                  <a:lnTo>
                    <a:pt x="326" y="1410"/>
                  </a:lnTo>
                  <a:lnTo>
                    <a:pt x="326" y="1410"/>
                  </a:lnTo>
                  <a:lnTo>
                    <a:pt x="330" y="1454"/>
                  </a:lnTo>
                  <a:lnTo>
                    <a:pt x="334" y="1498"/>
                  </a:lnTo>
                  <a:lnTo>
                    <a:pt x="342" y="1542"/>
                  </a:lnTo>
                  <a:lnTo>
                    <a:pt x="352" y="1584"/>
                  </a:lnTo>
                  <a:lnTo>
                    <a:pt x="362" y="1626"/>
                  </a:lnTo>
                  <a:lnTo>
                    <a:pt x="376" y="1666"/>
                  </a:lnTo>
                  <a:lnTo>
                    <a:pt x="392" y="1706"/>
                  </a:lnTo>
                  <a:lnTo>
                    <a:pt x="410" y="1746"/>
                  </a:lnTo>
                  <a:lnTo>
                    <a:pt x="428" y="1784"/>
                  </a:lnTo>
                  <a:lnTo>
                    <a:pt x="450" y="1822"/>
                  </a:lnTo>
                  <a:lnTo>
                    <a:pt x="474" y="1858"/>
                  </a:lnTo>
                  <a:lnTo>
                    <a:pt x="500" y="1894"/>
                  </a:lnTo>
                  <a:lnTo>
                    <a:pt x="528" y="1930"/>
                  </a:lnTo>
                  <a:lnTo>
                    <a:pt x="558" y="1964"/>
                  </a:lnTo>
                  <a:lnTo>
                    <a:pt x="590" y="1998"/>
                  </a:lnTo>
                  <a:lnTo>
                    <a:pt x="624" y="2032"/>
                  </a:lnTo>
                  <a:lnTo>
                    <a:pt x="624" y="2032"/>
                  </a:lnTo>
                  <a:lnTo>
                    <a:pt x="660" y="2064"/>
                  </a:lnTo>
                  <a:lnTo>
                    <a:pt x="696" y="2092"/>
                  </a:lnTo>
                  <a:lnTo>
                    <a:pt x="732" y="2120"/>
                  </a:lnTo>
                  <a:lnTo>
                    <a:pt x="770" y="2146"/>
                  </a:lnTo>
                  <a:lnTo>
                    <a:pt x="808" y="2170"/>
                  </a:lnTo>
                  <a:lnTo>
                    <a:pt x="848" y="2190"/>
                  </a:lnTo>
                  <a:lnTo>
                    <a:pt x="888" y="2210"/>
                  </a:lnTo>
                  <a:lnTo>
                    <a:pt x="928" y="2228"/>
                  </a:lnTo>
                  <a:lnTo>
                    <a:pt x="970" y="2244"/>
                  </a:lnTo>
                  <a:lnTo>
                    <a:pt x="1012" y="2258"/>
                  </a:lnTo>
                  <a:lnTo>
                    <a:pt x="1054" y="2268"/>
                  </a:lnTo>
                  <a:lnTo>
                    <a:pt x="1098" y="2278"/>
                  </a:lnTo>
                  <a:lnTo>
                    <a:pt x="1142" y="2286"/>
                  </a:lnTo>
                  <a:lnTo>
                    <a:pt x="1188" y="2292"/>
                  </a:lnTo>
                  <a:lnTo>
                    <a:pt x="1232" y="2294"/>
                  </a:lnTo>
                  <a:lnTo>
                    <a:pt x="1280" y="2296"/>
                  </a:lnTo>
                  <a:lnTo>
                    <a:pt x="1280" y="2296"/>
                  </a:lnTo>
                  <a:lnTo>
                    <a:pt x="1342" y="2294"/>
                  </a:lnTo>
                  <a:lnTo>
                    <a:pt x="1404" y="2288"/>
                  </a:lnTo>
                  <a:lnTo>
                    <a:pt x="1464" y="2278"/>
                  </a:lnTo>
                  <a:lnTo>
                    <a:pt x="1524" y="2262"/>
                  </a:lnTo>
                  <a:lnTo>
                    <a:pt x="1582" y="2244"/>
                  </a:lnTo>
                  <a:lnTo>
                    <a:pt x="1640" y="2220"/>
                  </a:lnTo>
                  <a:lnTo>
                    <a:pt x="1698" y="2194"/>
                  </a:lnTo>
                  <a:lnTo>
                    <a:pt x="1754" y="2162"/>
                  </a:lnTo>
                  <a:lnTo>
                    <a:pt x="1754" y="2162"/>
                  </a:lnTo>
                  <a:lnTo>
                    <a:pt x="1808" y="2126"/>
                  </a:lnTo>
                  <a:lnTo>
                    <a:pt x="1860" y="2088"/>
                  </a:lnTo>
                  <a:lnTo>
                    <a:pt x="1910" y="2046"/>
                  </a:lnTo>
                  <a:lnTo>
                    <a:pt x="1956" y="2002"/>
                  </a:lnTo>
                  <a:lnTo>
                    <a:pt x="2000" y="1952"/>
                  </a:lnTo>
                  <a:lnTo>
                    <a:pt x="2042" y="1902"/>
                  </a:lnTo>
                  <a:lnTo>
                    <a:pt x="2082" y="1846"/>
                  </a:lnTo>
                  <a:lnTo>
                    <a:pt x="2118" y="1788"/>
                  </a:lnTo>
                  <a:lnTo>
                    <a:pt x="2118" y="1788"/>
                  </a:lnTo>
                  <a:lnTo>
                    <a:pt x="2132" y="1768"/>
                  </a:lnTo>
                  <a:lnTo>
                    <a:pt x="2148" y="1750"/>
                  </a:lnTo>
                  <a:lnTo>
                    <a:pt x="2166" y="1734"/>
                  </a:lnTo>
                  <a:lnTo>
                    <a:pt x="2184" y="1722"/>
                  </a:lnTo>
                  <a:lnTo>
                    <a:pt x="2202" y="1712"/>
                  </a:lnTo>
                  <a:lnTo>
                    <a:pt x="2222" y="1706"/>
                  </a:lnTo>
                  <a:lnTo>
                    <a:pt x="2242" y="1702"/>
                  </a:lnTo>
                  <a:lnTo>
                    <a:pt x="2264" y="1700"/>
                  </a:lnTo>
                  <a:lnTo>
                    <a:pt x="2264" y="1700"/>
                  </a:lnTo>
                  <a:lnTo>
                    <a:pt x="2282" y="1702"/>
                  </a:lnTo>
                  <a:lnTo>
                    <a:pt x="2298" y="1704"/>
                  </a:lnTo>
                  <a:lnTo>
                    <a:pt x="2314" y="1708"/>
                  </a:lnTo>
                  <a:lnTo>
                    <a:pt x="2328" y="1712"/>
                  </a:lnTo>
                  <a:lnTo>
                    <a:pt x="2344" y="1720"/>
                  </a:lnTo>
                  <a:lnTo>
                    <a:pt x="2358" y="1728"/>
                  </a:lnTo>
                  <a:lnTo>
                    <a:pt x="2370" y="1738"/>
                  </a:lnTo>
                  <a:lnTo>
                    <a:pt x="2382" y="1748"/>
                  </a:lnTo>
                  <a:lnTo>
                    <a:pt x="2382" y="1748"/>
                  </a:lnTo>
                  <a:lnTo>
                    <a:pt x="2394" y="1762"/>
                  </a:lnTo>
                  <a:lnTo>
                    <a:pt x="2404" y="1774"/>
                  </a:lnTo>
                  <a:lnTo>
                    <a:pt x="2412" y="1788"/>
                  </a:lnTo>
                  <a:lnTo>
                    <a:pt x="2420" y="1804"/>
                  </a:lnTo>
                  <a:lnTo>
                    <a:pt x="2424" y="1818"/>
                  </a:lnTo>
                  <a:lnTo>
                    <a:pt x="2428" y="1834"/>
                  </a:lnTo>
                  <a:lnTo>
                    <a:pt x="2430" y="1850"/>
                  </a:lnTo>
                  <a:lnTo>
                    <a:pt x="2432" y="1868"/>
                  </a:lnTo>
                  <a:lnTo>
                    <a:pt x="2432" y="1868"/>
                  </a:lnTo>
                  <a:lnTo>
                    <a:pt x="2430" y="1890"/>
                  </a:lnTo>
                  <a:lnTo>
                    <a:pt x="2424" y="1914"/>
                  </a:lnTo>
                  <a:lnTo>
                    <a:pt x="2414" y="1940"/>
                  </a:lnTo>
                  <a:lnTo>
                    <a:pt x="2400" y="1966"/>
                  </a:lnTo>
                  <a:lnTo>
                    <a:pt x="2400" y="1966"/>
                  </a:lnTo>
                  <a:lnTo>
                    <a:pt x="2378" y="2000"/>
                  </a:lnTo>
                  <a:lnTo>
                    <a:pt x="2356" y="2036"/>
                  </a:lnTo>
                  <a:lnTo>
                    <a:pt x="2332" y="2068"/>
                  </a:lnTo>
                  <a:lnTo>
                    <a:pt x="2306" y="2102"/>
                  </a:lnTo>
                  <a:lnTo>
                    <a:pt x="2280" y="2132"/>
                  </a:lnTo>
                  <a:lnTo>
                    <a:pt x="2254" y="2164"/>
                  </a:lnTo>
                  <a:lnTo>
                    <a:pt x="2226" y="2192"/>
                  </a:lnTo>
                  <a:lnTo>
                    <a:pt x="2198" y="2222"/>
                  </a:lnTo>
                  <a:lnTo>
                    <a:pt x="2168" y="2248"/>
                  </a:lnTo>
                  <a:lnTo>
                    <a:pt x="2136" y="2276"/>
                  </a:lnTo>
                  <a:lnTo>
                    <a:pt x="2104" y="2302"/>
                  </a:lnTo>
                  <a:lnTo>
                    <a:pt x="2072" y="2326"/>
                  </a:lnTo>
                  <a:lnTo>
                    <a:pt x="2038" y="2350"/>
                  </a:lnTo>
                  <a:lnTo>
                    <a:pt x="2004" y="2372"/>
                  </a:lnTo>
                  <a:lnTo>
                    <a:pt x="1968" y="2394"/>
                  </a:lnTo>
                  <a:lnTo>
                    <a:pt x="1930" y="2416"/>
                  </a:lnTo>
                  <a:lnTo>
                    <a:pt x="1930" y="2416"/>
                  </a:lnTo>
                  <a:lnTo>
                    <a:pt x="1894" y="2436"/>
                  </a:lnTo>
                  <a:lnTo>
                    <a:pt x="1856" y="2454"/>
                  </a:lnTo>
                  <a:lnTo>
                    <a:pt x="1818" y="2472"/>
                  </a:lnTo>
                  <a:lnTo>
                    <a:pt x="1778" y="2486"/>
                  </a:lnTo>
                  <a:lnTo>
                    <a:pt x="1740" y="2502"/>
                  </a:lnTo>
                  <a:lnTo>
                    <a:pt x="1700" y="2516"/>
                  </a:lnTo>
                  <a:lnTo>
                    <a:pt x="1660" y="2528"/>
                  </a:lnTo>
                  <a:lnTo>
                    <a:pt x="1620" y="2538"/>
                  </a:lnTo>
                  <a:lnTo>
                    <a:pt x="1580" y="2548"/>
                  </a:lnTo>
                  <a:lnTo>
                    <a:pt x="1538" y="2556"/>
                  </a:lnTo>
                  <a:lnTo>
                    <a:pt x="1496" y="2562"/>
                  </a:lnTo>
                  <a:lnTo>
                    <a:pt x="1456" y="2568"/>
                  </a:lnTo>
                  <a:lnTo>
                    <a:pt x="1412" y="2574"/>
                  </a:lnTo>
                  <a:lnTo>
                    <a:pt x="1370" y="2576"/>
                  </a:lnTo>
                  <a:lnTo>
                    <a:pt x="1328" y="2578"/>
                  </a:lnTo>
                  <a:lnTo>
                    <a:pt x="1284" y="2578"/>
                  </a:lnTo>
                  <a:lnTo>
                    <a:pt x="1280" y="2578"/>
                  </a:lnTo>
                  <a:lnTo>
                    <a:pt x="1280" y="2578"/>
                  </a:lnTo>
                  <a:lnTo>
                    <a:pt x="1214" y="2578"/>
                  </a:lnTo>
                  <a:lnTo>
                    <a:pt x="1148" y="2572"/>
                  </a:lnTo>
                  <a:lnTo>
                    <a:pt x="1084" y="2566"/>
                  </a:lnTo>
                  <a:lnTo>
                    <a:pt x="1022" y="2556"/>
                  </a:lnTo>
                  <a:lnTo>
                    <a:pt x="962" y="2542"/>
                  </a:lnTo>
                  <a:lnTo>
                    <a:pt x="902" y="2526"/>
                  </a:lnTo>
                  <a:lnTo>
                    <a:pt x="842" y="2508"/>
                  </a:lnTo>
                  <a:lnTo>
                    <a:pt x="786" y="2486"/>
                  </a:lnTo>
                  <a:lnTo>
                    <a:pt x="730" y="2460"/>
                  </a:lnTo>
                  <a:lnTo>
                    <a:pt x="674" y="2432"/>
                  </a:lnTo>
                  <a:lnTo>
                    <a:pt x="622" y="2402"/>
                  </a:lnTo>
                  <a:lnTo>
                    <a:pt x="568" y="2368"/>
                  </a:lnTo>
                  <a:lnTo>
                    <a:pt x="518" y="2332"/>
                  </a:lnTo>
                  <a:lnTo>
                    <a:pt x="468" y="2292"/>
                  </a:lnTo>
                  <a:lnTo>
                    <a:pt x="420" y="2250"/>
                  </a:lnTo>
                  <a:lnTo>
                    <a:pt x="372" y="2204"/>
                  </a:lnTo>
                  <a:lnTo>
                    <a:pt x="372" y="2204"/>
                  </a:lnTo>
                  <a:lnTo>
                    <a:pt x="328" y="2156"/>
                  </a:lnTo>
                  <a:lnTo>
                    <a:pt x="284" y="2108"/>
                  </a:lnTo>
                  <a:lnTo>
                    <a:pt x="246" y="2058"/>
                  </a:lnTo>
                  <a:lnTo>
                    <a:pt x="210" y="2006"/>
                  </a:lnTo>
                  <a:lnTo>
                    <a:pt x="176" y="1954"/>
                  </a:lnTo>
                  <a:lnTo>
                    <a:pt x="146" y="1900"/>
                  </a:lnTo>
                  <a:lnTo>
                    <a:pt x="118" y="1844"/>
                  </a:lnTo>
                  <a:lnTo>
                    <a:pt x="92" y="1788"/>
                  </a:lnTo>
                  <a:lnTo>
                    <a:pt x="70" y="1732"/>
                  </a:lnTo>
                  <a:lnTo>
                    <a:pt x="52" y="1672"/>
                  </a:lnTo>
                  <a:lnTo>
                    <a:pt x="36" y="1612"/>
                  </a:lnTo>
                  <a:lnTo>
                    <a:pt x="22" y="1552"/>
                  </a:lnTo>
                  <a:lnTo>
                    <a:pt x="12" y="1490"/>
                  </a:lnTo>
                  <a:lnTo>
                    <a:pt x="6" y="1426"/>
                  </a:lnTo>
                  <a:lnTo>
                    <a:pt x="0" y="1360"/>
                  </a:lnTo>
                  <a:lnTo>
                    <a:pt x="0" y="1294"/>
                  </a:lnTo>
                  <a:lnTo>
                    <a:pt x="0" y="1294"/>
                  </a:lnTo>
                  <a:lnTo>
                    <a:pt x="0" y="1228"/>
                  </a:lnTo>
                  <a:lnTo>
                    <a:pt x="6" y="1162"/>
                  </a:lnTo>
                  <a:lnTo>
                    <a:pt x="12" y="1098"/>
                  </a:lnTo>
                  <a:lnTo>
                    <a:pt x="22" y="1036"/>
                  </a:lnTo>
                  <a:lnTo>
                    <a:pt x="36" y="974"/>
                  </a:lnTo>
                  <a:lnTo>
                    <a:pt x="52" y="914"/>
                  </a:lnTo>
                  <a:lnTo>
                    <a:pt x="70" y="854"/>
                  </a:lnTo>
                  <a:lnTo>
                    <a:pt x="92" y="796"/>
                  </a:lnTo>
                  <a:lnTo>
                    <a:pt x="118" y="740"/>
                  </a:lnTo>
                  <a:lnTo>
                    <a:pt x="146" y="684"/>
                  </a:lnTo>
                  <a:lnTo>
                    <a:pt x="176" y="630"/>
                  </a:lnTo>
                  <a:lnTo>
                    <a:pt x="210" y="578"/>
                  </a:lnTo>
                  <a:lnTo>
                    <a:pt x="246" y="526"/>
                  </a:lnTo>
                  <a:lnTo>
                    <a:pt x="284" y="476"/>
                  </a:lnTo>
                  <a:lnTo>
                    <a:pt x="328" y="426"/>
                  </a:lnTo>
                  <a:lnTo>
                    <a:pt x="372" y="378"/>
                  </a:lnTo>
                  <a:lnTo>
                    <a:pt x="372" y="378"/>
                  </a:lnTo>
                  <a:lnTo>
                    <a:pt x="420" y="332"/>
                  </a:lnTo>
                  <a:lnTo>
                    <a:pt x="468" y="290"/>
                  </a:lnTo>
                  <a:lnTo>
                    <a:pt x="518" y="250"/>
                  </a:lnTo>
                  <a:lnTo>
                    <a:pt x="568" y="214"/>
                  </a:lnTo>
                  <a:lnTo>
                    <a:pt x="622" y="180"/>
                  </a:lnTo>
                  <a:lnTo>
                    <a:pt x="674" y="148"/>
                  </a:lnTo>
                  <a:lnTo>
                    <a:pt x="730" y="120"/>
                  </a:lnTo>
                  <a:lnTo>
                    <a:pt x="786" y="96"/>
                  </a:lnTo>
                  <a:lnTo>
                    <a:pt x="842" y="74"/>
                  </a:lnTo>
                  <a:lnTo>
                    <a:pt x="902" y="54"/>
                  </a:lnTo>
                  <a:lnTo>
                    <a:pt x="962" y="38"/>
                  </a:lnTo>
                  <a:lnTo>
                    <a:pt x="1022" y="24"/>
                  </a:lnTo>
                  <a:lnTo>
                    <a:pt x="1084" y="14"/>
                  </a:lnTo>
                  <a:lnTo>
                    <a:pt x="1148" y="6"/>
                  </a:lnTo>
                  <a:lnTo>
                    <a:pt x="1214" y="2"/>
                  </a:lnTo>
                  <a:lnTo>
                    <a:pt x="1280" y="0"/>
                  </a:lnTo>
                  <a:lnTo>
                    <a:pt x="1280" y="0"/>
                  </a:lnTo>
                  <a:lnTo>
                    <a:pt x="1322" y="2"/>
                  </a:lnTo>
                  <a:lnTo>
                    <a:pt x="1366" y="4"/>
                  </a:lnTo>
                  <a:lnTo>
                    <a:pt x="1408" y="8"/>
                  </a:lnTo>
                  <a:lnTo>
                    <a:pt x="1452" y="12"/>
                  </a:lnTo>
                  <a:lnTo>
                    <a:pt x="1494" y="20"/>
                  </a:lnTo>
                  <a:lnTo>
                    <a:pt x="1534" y="28"/>
                  </a:lnTo>
                  <a:lnTo>
                    <a:pt x="1576" y="36"/>
                  </a:lnTo>
                  <a:lnTo>
                    <a:pt x="1618" y="48"/>
                  </a:lnTo>
                  <a:lnTo>
                    <a:pt x="1658" y="60"/>
                  </a:lnTo>
                  <a:lnTo>
                    <a:pt x="1698" y="74"/>
                  </a:lnTo>
                  <a:lnTo>
                    <a:pt x="1738" y="88"/>
                  </a:lnTo>
                  <a:lnTo>
                    <a:pt x="1778" y="106"/>
                  </a:lnTo>
                  <a:lnTo>
                    <a:pt x="1816" y="124"/>
                  </a:lnTo>
                  <a:lnTo>
                    <a:pt x="1856" y="142"/>
                  </a:lnTo>
                  <a:lnTo>
                    <a:pt x="1894" y="164"/>
                  </a:lnTo>
                  <a:lnTo>
                    <a:pt x="1932" y="186"/>
                  </a:lnTo>
                  <a:lnTo>
                    <a:pt x="1932" y="186"/>
                  </a:lnTo>
                  <a:lnTo>
                    <a:pt x="1970" y="210"/>
                  </a:lnTo>
                  <a:lnTo>
                    <a:pt x="2006" y="234"/>
                  </a:lnTo>
                  <a:lnTo>
                    <a:pt x="2042" y="260"/>
                  </a:lnTo>
                  <a:lnTo>
                    <a:pt x="2076" y="288"/>
                  </a:lnTo>
                  <a:lnTo>
                    <a:pt x="2110" y="314"/>
                  </a:lnTo>
                  <a:lnTo>
                    <a:pt x="2142" y="344"/>
                  </a:lnTo>
                  <a:lnTo>
                    <a:pt x="2174" y="374"/>
                  </a:lnTo>
                  <a:lnTo>
                    <a:pt x="2204" y="404"/>
                  </a:lnTo>
                  <a:lnTo>
                    <a:pt x="2232" y="436"/>
                  </a:lnTo>
                  <a:lnTo>
                    <a:pt x="2260" y="468"/>
                  </a:lnTo>
                  <a:lnTo>
                    <a:pt x="2286" y="502"/>
                  </a:lnTo>
                  <a:lnTo>
                    <a:pt x="2312" y="536"/>
                  </a:lnTo>
                  <a:lnTo>
                    <a:pt x="2338" y="572"/>
                  </a:lnTo>
                  <a:lnTo>
                    <a:pt x="2360" y="608"/>
                  </a:lnTo>
                  <a:lnTo>
                    <a:pt x="2384" y="646"/>
                  </a:lnTo>
                  <a:lnTo>
                    <a:pt x="2406" y="686"/>
                  </a:lnTo>
                  <a:lnTo>
                    <a:pt x="2406" y="686"/>
                  </a:lnTo>
                  <a:lnTo>
                    <a:pt x="2434" y="744"/>
                  </a:lnTo>
                  <a:lnTo>
                    <a:pt x="2460" y="806"/>
                  </a:lnTo>
                  <a:lnTo>
                    <a:pt x="2484" y="872"/>
                  </a:lnTo>
                  <a:lnTo>
                    <a:pt x="2504" y="942"/>
                  </a:lnTo>
                  <a:lnTo>
                    <a:pt x="2522" y="1016"/>
                  </a:lnTo>
                  <a:lnTo>
                    <a:pt x="2536" y="1092"/>
                  </a:lnTo>
                  <a:lnTo>
                    <a:pt x="2546" y="1172"/>
                  </a:lnTo>
                  <a:lnTo>
                    <a:pt x="2556" y="1254"/>
                  </a:lnTo>
                  <a:lnTo>
                    <a:pt x="2556" y="1254"/>
                  </a:lnTo>
                  <a:lnTo>
                    <a:pt x="2556" y="1274"/>
                  </a:lnTo>
                  <a:lnTo>
                    <a:pt x="2556" y="1290"/>
                  </a:lnTo>
                  <a:lnTo>
                    <a:pt x="2554" y="1308"/>
                  </a:lnTo>
                  <a:lnTo>
                    <a:pt x="2550" y="1322"/>
                  </a:lnTo>
                  <a:lnTo>
                    <a:pt x="2546" y="1336"/>
                  </a:lnTo>
                  <a:lnTo>
                    <a:pt x="2540" y="1348"/>
                  </a:lnTo>
                  <a:lnTo>
                    <a:pt x="2532" y="1360"/>
                  </a:lnTo>
                  <a:lnTo>
                    <a:pt x="2524" y="1370"/>
                  </a:lnTo>
                  <a:lnTo>
                    <a:pt x="2514" y="1380"/>
                  </a:lnTo>
                  <a:lnTo>
                    <a:pt x="2502" y="1388"/>
                  </a:lnTo>
                  <a:lnTo>
                    <a:pt x="2490" y="1394"/>
                  </a:lnTo>
                  <a:lnTo>
                    <a:pt x="2476" y="1400"/>
                  </a:lnTo>
                  <a:lnTo>
                    <a:pt x="2460" y="1404"/>
                  </a:lnTo>
                  <a:lnTo>
                    <a:pt x="2444" y="1406"/>
                  </a:lnTo>
                  <a:lnTo>
                    <a:pt x="2424" y="1408"/>
                  </a:lnTo>
                  <a:lnTo>
                    <a:pt x="2406" y="1410"/>
                  </a:lnTo>
                  <a:lnTo>
                    <a:pt x="758" y="1410"/>
                  </a:lnTo>
                  <a:lnTo>
                    <a:pt x="758" y="1410"/>
                  </a:lnTo>
                  <a:lnTo>
                    <a:pt x="744" y="1408"/>
                  </a:lnTo>
                  <a:lnTo>
                    <a:pt x="730" y="1406"/>
                  </a:lnTo>
                  <a:lnTo>
                    <a:pt x="718" y="1404"/>
                  </a:lnTo>
                  <a:lnTo>
                    <a:pt x="706" y="1398"/>
                  </a:lnTo>
                  <a:lnTo>
                    <a:pt x="692" y="1392"/>
                  </a:lnTo>
                  <a:lnTo>
                    <a:pt x="682" y="1386"/>
                  </a:lnTo>
                  <a:lnTo>
                    <a:pt x="670" y="1376"/>
                  </a:lnTo>
                  <a:lnTo>
                    <a:pt x="660" y="1368"/>
                  </a:lnTo>
                  <a:lnTo>
                    <a:pt x="660" y="1368"/>
                  </a:lnTo>
                  <a:lnTo>
                    <a:pt x="650" y="1356"/>
                  </a:lnTo>
                  <a:lnTo>
                    <a:pt x="640" y="1344"/>
                  </a:lnTo>
                  <a:lnTo>
                    <a:pt x="634" y="1332"/>
                  </a:lnTo>
                  <a:lnTo>
                    <a:pt x="628" y="1320"/>
                  </a:lnTo>
                  <a:lnTo>
                    <a:pt x="624" y="1306"/>
                  </a:lnTo>
                  <a:lnTo>
                    <a:pt x="620" y="1294"/>
                  </a:lnTo>
                  <a:lnTo>
                    <a:pt x="618" y="1278"/>
                  </a:lnTo>
                  <a:lnTo>
                    <a:pt x="618" y="1264"/>
                  </a:lnTo>
                  <a:lnTo>
                    <a:pt x="618" y="12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71" name="Freeform 8"/>
            <p:cNvSpPr>
              <a:spLocks/>
            </p:cNvSpPr>
            <p:nvPr userDrawn="1"/>
          </p:nvSpPr>
          <p:spPr bwMode="auto">
            <a:xfrm>
              <a:off x="3709295" y="3271687"/>
              <a:ext cx="190443" cy="250810"/>
            </a:xfrm>
            <a:custGeom>
              <a:avLst/>
              <a:gdLst>
                <a:gd name="T0" fmla="*/ 1478 w 2568"/>
                <a:gd name="T1" fmla="*/ 14 h 3382"/>
                <a:gd name="T2" fmla="*/ 1776 w 2568"/>
                <a:gd name="T3" fmla="*/ 94 h 3382"/>
                <a:gd name="T4" fmla="*/ 2044 w 2568"/>
                <a:gd name="T5" fmla="*/ 250 h 3382"/>
                <a:gd name="T6" fmla="*/ 2238 w 2568"/>
                <a:gd name="T7" fmla="*/ 426 h 3382"/>
                <a:gd name="T8" fmla="*/ 2422 w 2568"/>
                <a:gd name="T9" fmla="*/ 682 h 3382"/>
                <a:gd name="T10" fmla="*/ 2532 w 2568"/>
                <a:gd name="T11" fmla="*/ 970 h 3382"/>
                <a:gd name="T12" fmla="*/ 2568 w 2568"/>
                <a:gd name="T13" fmla="*/ 1290 h 3382"/>
                <a:gd name="T14" fmla="*/ 2546 w 2568"/>
                <a:gd name="T15" fmla="*/ 1546 h 3382"/>
                <a:gd name="T16" fmla="*/ 2450 w 2568"/>
                <a:gd name="T17" fmla="*/ 1842 h 3382"/>
                <a:gd name="T18" fmla="*/ 2280 w 2568"/>
                <a:gd name="T19" fmla="*/ 2106 h 3382"/>
                <a:gd name="T20" fmla="*/ 2094 w 2568"/>
                <a:gd name="T21" fmla="*/ 2292 h 3382"/>
                <a:gd name="T22" fmla="*/ 1832 w 2568"/>
                <a:gd name="T23" fmla="*/ 2462 h 3382"/>
                <a:gd name="T24" fmla="*/ 1540 w 2568"/>
                <a:gd name="T25" fmla="*/ 2558 h 3382"/>
                <a:gd name="T26" fmla="*/ 1284 w 2568"/>
                <a:gd name="T27" fmla="*/ 2582 h 3382"/>
                <a:gd name="T28" fmla="*/ 1020 w 2568"/>
                <a:gd name="T29" fmla="*/ 2556 h 3382"/>
                <a:gd name="T30" fmla="*/ 776 w 2568"/>
                <a:gd name="T31" fmla="*/ 2478 h 3382"/>
                <a:gd name="T32" fmla="*/ 550 w 2568"/>
                <a:gd name="T33" fmla="*/ 2350 h 3382"/>
                <a:gd name="T34" fmla="*/ 584 w 2568"/>
                <a:gd name="T35" fmla="*/ 2004 h 3382"/>
                <a:gd name="T36" fmla="*/ 802 w 2568"/>
                <a:gd name="T37" fmla="*/ 2172 h 3382"/>
                <a:gd name="T38" fmla="*/ 1056 w 2568"/>
                <a:gd name="T39" fmla="*/ 2268 h 3382"/>
                <a:gd name="T40" fmla="*/ 1284 w 2568"/>
                <a:gd name="T41" fmla="*/ 2292 h 3382"/>
                <a:gd name="T42" fmla="*/ 1530 w 2568"/>
                <a:gd name="T43" fmla="*/ 2262 h 3382"/>
                <a:gd name="T44" fmla="*/ 1752 w 2568"/>
                <a:gd name="T45" fmla="*/ 2176 h 3382"/>
                <a:gd name="T46" fmla="*/ 1950 w 2568"/>
                <a:gd name="T47" fmla="*/ 2034 h 3382"/>
                <a:gd name="T48" fmla="*/ 2086 w 2568"/>
                <a:gd name="T49" fmla="*/ 1884 h 3382"/>
                <a:gd name="T50" fmla="*/ 2204 w 2568"/>
                <a:gd name="T51" fmla="*/ 1674 h 3382"/>
                <a:gd name="T52" fmla="*/ 2268 w 2568"/>
                <a:gd name="T53" fmla="*/ 1440 h 3382"/>
                <a:gd name="T54" fmla="*/ 2276 w 2568"/>
                <a:gd name="T55" fmla="*/ 1238 h 3382"/>
                <a:gd name="T56" fmla="*/ 2236 w 2568"/>
                <a:gd name="T57" fmla="*/ 994 h 3382"/>
                <a:gd name="T58" fmla="*/ 2140 w 2568"/>
                <a:gd name="T59" fmla="*/ 776 h 3382"/>
                <a:gd name="T60" fmla="*/ 1986 w 2568"/>
                <a:gd name="T61" fmla="*/ 580 h 3382"/>
                <a:gd name="T62" fmla="*/ 1834 w 2568"/>
                <a:gd name="T63" fmla="*/ 452 h 3382"/>
                <a:gd name="T64" fmla="*/ 1620 w 2568"/>
                <a:gd name="T65" fmla="*/ 344 h 3382"/>
                <a:gd name="T66" fmla="*/ 1386 w 2568"/>
                <a:gd name="T67" fmla="*/ 292 h 3382"/>
                <a:gd name="T68" fmla="*/ 1182 w 2568"/>
                <a:gd name="T69" fmla="*/ 292 h 3382"/>
                <a:gd name="T70" fmla="*/ 946 w 2568"/>
                <a:gd name="T71" fmla="*/ 344 h 3382"/>
                <a:gd name="T72" fmla="*/ 732 w 2568"/>
                <a:gd name="T73" fmla="*/ 452 h 3382"/>
                <a:gd name="T74" fmla="*/ 578 w 2568"/>
                <a:gd name="T75" fmla="*/ 580 h 3382"/>
                <a:gd name="T76" fmla="*/ 424 w 2568"/>
                <a:gd name="T77" fmla="*/ 776 h 3382"/>
                <a:gd name="T78" fmla="*/ 328 w 2568"/>
                <a:gd name="T79" fmla="*/ 994 h 3382"/>
                <a:gd name="T80" fmla="*/ 288 w 2568"/>
                <a:gd name="T81" fmla="*/ 1238 h 3382"/>
                <a:gd name="T82" fmla="*/ 286 w 2568"/>
                <a:gd name="T83" fmla="*/ 3250 h 3382"/>
                <a:gd name="T84" fmla="*/ 264 w 2568"/>
                <a:gd name="T85" fmla="*/ 3318 h 3382"/>
                <a:gd name="T86" fmla="*/ 222 w 2568"/>
                <a:gd name="T87" fmla="*/ 3358 h 3382"/>
                <a:gd name="T88" fmla="*/ 156 w 2568"/>
                <a:gd name="T89" fmla="*/ 3380 h 3382"/>
                <a:gd name="T90" fmla="*/ 100 w 2568"/>
                <a:gd name="T91" fmla="*/ 3376 h 3382"/>
                <a:gd name="T92" fmla="*/ 42 w 2568"/>
                <a:gd name="T93" fmla="*/ 3340 h 3382"/>
                <a:gd name="T94" fmla="*/ 10 w 2568"/>
                <a:gd name="T95" fmla="*/ 3292 h 3382"/>
                <a:gd name="T96" fmla="*/ 0 w 2568"/>
                <a:gd name="T97" fmla="*/ 1290 h 3382"/>
                <a:gd name="T98" fmla="*/ 24 w 2568"/>
                <a:gd name="T99" fmla="*/ 1032 h 3382"/>
                <a:gd name="T100" fmla="*/ 118 w 2568"/>
                <a:gd name="T101" fmla="*/ 738 h 3382"/>
                <a:gd name="T102" fmla="*/ 288 w 2568"/>
                <a:gd name="T103" fmla="*/ 474 h 3382"/>
                <a:gd name="T104" fmla="*/ 472 w 2568"/>
                <a:gd name="T105" fmla="*/ 290 h 3382"/>
                <a:gd name="T106" fmla="*/ 734 w 2568"/>
                <a:gd name="T107" fmla="*/ 120 h 3382"/>
                <a:gd name="T108" fmla="*/ 1028 w 2568"/>
                <a:gd name="T109" fmla="*/ 24 h 3382"/>
                <a:gd name="T110" fmla="*/ 1284 w 2568"/>
                <a:gd name="T111" fmla="*/ 0 h 3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68" h="3382">
                  <a:moveTo>
                    <a:pt x="1284" y="0"/>
                  </a:moveTo>
                  <a:lnTo>
                    <a:pt x="1284" y="0"/>
                  </a:lnTo>
                  <a:lnTo>
                    <a:pt x="1350" y="2"/>
                  </a:lnTo>
                  <a:lnTo>
                    <a:pt x="1414" y="6"/>
                  </a:lnTo>
                  <a:lnTo>
                    <a:pt x="1478" y="14"/>
                  </a:lnTo>
                  <a:lnTo>
                    <a:pt x="1540" y="24"/>
                  </a:lnTo>
                  <a:lnTo>
                    <a:pt x="1600" y="38"/>
                  </a:lnTo>
                  <a:lnTo>
                    <a:pt x="1660" y="54"/>
                  </a:lnTo>
                  <a:lnTo>
                    <a:pt x="1718" y="72"/>
                  </a:lnTo>
                  <a:lnTo>
                    <a:pt x="1776" y="94"/>
                  </a:lnTo>
                  <a:lnTo>
                    <a:pt x="1832" y="120"/>
                  </a:lnTo>
                  <a:lnTo>
                    <a:pt x="1888" y="148"/>
                  </a:lnTo>
                  <a:lnTo>
                    <a:pt x="1940" y="178"/>
                  </a:lnTo>
                  <a:lnTo>
                    <a:pt x="1994" y="212"/>
                  </a:lnTo>
                  <a:lnTo>
                    <a:pt x="2044" y="250"/>
                  </a:lnTo>
                  <a:lnTo>
                    <a:pt x="2094" y="290"/>
                  </a:lnTo>
                  <a:lnTo>
                    <a:pt x="2144" y="332"/>
                  </a:lnTo>
                  <a:lnTo>
                    <a:pt x="2192" y="378"/>
                  </a:lnTo>
                  <a:lnTo>
                    <a:pt x="2192" y="378"/>
                  </a:lnTo>
                  <a:lnTo>
                    <a:pt x="2238" y="426"/>
                  </a:lnTo>
                  <a:lnTo>
                    <a:pt x="2280" y="474"/>
                  </a:lnTo>
                  <a:lnTo>
                    <a:pt x="2320" y="524"/>
                  </a:lnTo>
                  <a:lnTo>
                    <a:pt x="2356" y="576"/>
                  </a:lnTo>
                  <a:lnTo>
                    <a:pt x="2390" y="628"/>
                  </a:lnTo>
                  <a:lnTo>
                    <a:pt x="2422" y="682"/>
                  </a:lnTo>
                  <a:lnTo>
                    <a:pt x="2450" y="738"/>
                  </a:lnTo>
                  <a:lnTo>
                    <a:pt x="2474" y="794"/>
                  </a:lnTo>
                  <a:lnTo>
                    <a:pt x="2496" y="852"/>
                  </a:lnTo>
                  <a:lnTo>
                    <a:pt x="2516" y="910"/>
                  </a:lnTo>
                  <a:lnTo>
                    <a:pt x="2532" y="970"/>
                  </a:lnTo>
                  <a:lnTo>
                    <a:pt x="2546" y="1032"/>
                  </a:lnTo>
                  <a:lnTo>
                    <a:pt x="2556" y="1094"/>
                  </a:lnTo>
                  <a:lnTo>
                    <a:pt x="2564" y="1158"/>
                  </a:lnTo>
                  <a:lnTo>
                    <a:pt x="2568" y="1222"/>
                  </a:lnTo>
                  <a:lnTo>
                    <a:pt x="2568" y="1290"/>
                  </a:lnTo>
                  <a:lnTo>
                    <a:pt x="2568" y="1290"/>
                  </a:lnTo>
                  <a:lnTo>
                    <a:pt x="2568" y="1356"/>
                  </a:lnTo>
                  <a:lnTo>
                    <a:pt x="2564" y="1420"/>
                  </a:lnTo>
                  <a:lnTo>
                    <a:pt x="2556" y="1484"/>
                  </a:lnTo>
                  <a:lnTo>
                    <a:pt x="2546" y="1546"/>
                  </a:lnTo>
                  <a:lnTo>
                    <a:pt x="2532" y="1608"/>
                  </a:lnTo>
                  <a:lnTo>
                    <a:pt x="2516" y="1668"/>
                  </a:lnTo>
                  <a:lnTo>
                    <a:pt x="2496" y="1726"/>
                  </a:lnTo>
                  <a:lnTo>
                    <a:pt x="2474" y="1784"/>
                  </a:lnTo>
                  <a:lnTo>
                    <a:pt x="2450" y="1842"/>
                  </a:lnTo>
                  <a:lnTo>
                    <a:pt x="2422" y="1896"/>
                  </a:lnTo>
                  <a:lnTo>
                    <a:pt x="2390" y="1950"/>
                  </a:lnTo>
                  <a:lnTo>
                    <a:pt x="2356" y="2004"/>
                  </a:lnTo>
                  <a:lnTo>
                    <a:pt x="2320" y="2056"/>
                  </a:lnTo>
                  <a:lnTo>
                    <a:pt x="2280" y="2106"/>
                  </a:lnTo>
                  <a:lnTo>
                    <a:pt x="2238" y="2154"/>
                  </a:lnTo>
                  <a:lnTo>
                    <a:pt x="2192" y="2202"/>
                  </a:lnTo>
                  <a:lnTo>
                    <a:pt x="2192" y="2202"/>
                  </a:lnTo>
                  <a:lnTo>
                    <a:pt x="2144" y="2248"/>
                  </a:lnTo>
                  <a:lnTo>
                    <a:pt x="2094" y="2292"/>
                  </a:lnTo>
                  <a:lnTo>
                    <a:pt x="2044" y="2332"/>
                  </a:lnTo>
                  <a:lnTo>
                    <a:pt x="1994" y="2368"/>
                  </a:lnTo>
                  <a:lnTo>
                    <a:pt x="1940" y="2402"/>
                  </a:lnTo>
                  <a:lnTo>
                    <a:pt x="1888" y="2434"/>
                  </a:lnTo>
                  <a:lnTo>
                    <a:pt x="1832" y="2462"/>
                  </a:lnTo>
                  <a:lnTo>
                    <a:pt x="1776" y="2488"/>
                  </a:lnTo>
                  <a:lnTo>
                    <a:pt x="1718" y="2510"/>
                  </a:lnTo>
                  <a:lnTo>
                    <a:pt x="1660" y="2530"/>
                  </a:lnTo>
                  <a:lnTo>
                    <a:pt x="1600" y="2546"/>
                  </a:lnTo>
                  <a:lnTo>
                    <a:pt x="1540" y="2558"/>
                  </a:lnTo>
                  <a:lnTo>
                    <a:pt x="1478" y="2570"/>
                  </a:lnTo>
                  <a:lnTo>
                    <a:pt x="1414" y="2576"/>
                  </a:lnTo>
                  <a:lnTo>
                    <a:pt x="1350" y="2580"/>
                  </a:lnTo>
                  <a:lnTo>
                    <a:pt x="1284" y="2582"/>
                  </a:lnTo>
                  <a:lnTo>
                    <a:pt x="1284" y="2582"/>
                  </a:lnTo>
                  <a:lnTo>
                    <a:pt x="1230" y="2582"/>
                  </a:lnTo>
                  <a:lnTo>
                    <a:pt x="1176" y="2578"/>
                  </a:lnTo>
                  <a:lnTo>
                    <a:pt x="1124" y="2574"/>
                  </a:lnTo>
                  <a:lnTo>
                    <a:pt x="1072" y="2566"/>
                  </a:lnTo>
                  <a:lnTo>
                    <a:pt x="1020" y="2556"/>
                  </a:lnTo>
                  <a:lnTo>
                    <a:pt x="970" y="2546"/>
                  </a:lnTo>
                  <a:lnTo>
                    <a:pt x="920" y="2532"/>
                  </a:lnTo>
                  <a:lnTo>
                    <a:pt x="872" y="2516"/>
                  </a:lnTo>
                  <a:lnTo>
                    <a:pt x="824" y="2498"/>
                  </a:lnTo>
                  <a:lnTo>
                    <a:pt x="776" y="2478"/>
                  </a:lnTo>
                  <a:lnTo>
                    <a:pt x="730" y="2458"/>
                  </a:lnTo>
                  <a:lnTo>
                    <a:pt x="684" y="2434"/>
                  </a:lnTo>
                  <a:lnTo>
                    <a:pt x="638" y="2408"/>
                  </a:lnTo>
                  <a:lnTo>
                    <a:pt x="594" y="2380"/>
                  </a:lnTo>
                  <a:lnTo>
                    <a:pt x="550" y="2350"/>
                  </a:lnTo>
                  <a:lnTo>
                    <a:pt x="508" y="2318"/>
                  </a:lnTo>
                  <a:lnTo>
                    <a:pt x="508" y="1916"/>
                  </a:lnTo>
                  <a:lnTo>
                    <a:pt x="508" y="1916"/>
                  </a:lnTo>
                  <a:lnTo>
                    <a:pt x="546" y="1962"/>
                  </a:lnTo>
                  <a:lnTo>
                    <a:pt x="584" y="2004"/>
                  </a:lnTo>
                  <a:lnTo>
                    <a:pt x="624" y="2044"/>
                  </a:lnTo>
                  <a:lnTo>
                    <a:pt x="666" y="2080"/>
                  </a:lnTo>
                  <a:lnTo>
                    <a:pt x="710" y="2114"/>
                  </a:lnTo>
                  <a:lnTo>
                    <a:pt x="756" y="2144"/>
                  </a:lnTo>
                  <a:lnTo>
                    <a:pt x="802" y="2172"/>
                  </a:lnTo>
                  <a:lnTo>
                    <a:pt x="850" y="2198"/>
                  </a:lnTo>
                  <a:lnTo>
                    <a:pt x="898" y="2220"/>
                  </a:lnTo>
                  <a:lnTo>
                    <a:pt x="950" y="2238"/>
                  </a:lnTo>
                  <a:lnTo>
                    <a:pt x="1002" y="2254"/>
                  </a:lnTo>
                  <a:lnTo>
                    <a:pt x="1056" y="2268"/>
                  </a:lnTo>
                  <a:lnTo>
                    <a:pt x="1110" y="2278"/>
                  </a:lnTo>
                  <a:lnTo>
                    <a:pt x="1168" y="2286"/>
                  </a:lnTo>
                  <a:lnTo>
                    <a:pt x="1224" y="2290"/>
                  </a:lnTo>
                  <a:lnTo>
                    <a:pt x="1284" y="2292"/>
                  </a:lnTo>
                  <a:lnTo>
                    <a:pt x="1284" y="2292"/>
                  </a:lnTo>
                  <a:lnTo>
                    <a:pt x="1336" y="2290"/>
                  </a:lnTo>
                  <a:lnTo>
                    <a:pt x="1386" y="2286"/>
                  </a:lnTo>
                  <a:lnTo>
                    <a:pt x="1434" y="2280"/>
                  </a:lnTo>
                  <a:lnTo>
                    <a:pt x="1482" y="2272"/>
                  </a:lnTo>
                  <a:lnTo>
                    <a:pt x="1530" y="2262"/>
                  </a:lnTo>
                  <a:lnTo>
                    <a:pt x="1576" y="2250"/>
                  </a:lnTo>
                  <a:lnTo>
                    <a:pt x="1620" y="2234"/>
                  </a:lnTo>
                  <a:lnTo>
                    <a:pt x="1666" y="2218"/>
                  </a:lnTo>
                  <a:lnTo>
                    <a:pt x="1708" y="2198"/>
                  </a:lnTo>
                  <a:lnTo>
                    <a:pt x="1752" y="2176"/>
                  </a:lnTo>
                  <a:lnTo>
                    <a:pt x="1792" y="2152"/>
                  </a:lnTo>
                  <a:lnTo>
                    <a:pt x="1834" y="2126"/>
                  </a:lnTo>
                  <a:lnTo>
                    <a:pt x="1872" y="2098"/>
                  </a:lnTo>
                  <a:lnTo>
                    <a:pt x="1912" y="2066"/>
                  </a:lnTo>
                  <a:lnTo>
                    <a:pt x="1950" y="2034"/>
                  </a:lnTo>
                  <a:lnTo>
                    <a:pt x="1986" y="1998"/>
                  </a:lnTo>
                  <a:lnTo>
                    <a:pt x="1986" y="1998"/>
                  </a:lnTo>
                  <a:lnTo>
                    <a:pt x="2022" y="1960"/>
                  </a:lnTo>
                  <a:lnTo>
                    <a:pt x="2054" y="1922"/>
                  </a:lnTo>
                  <a:lnTo>
                    <a:pt x="2086" y="1884"/>
                  </a:lnTo>
                  <a:lnTo>
                    <a:pt x="2114" y="1844"/>
                  </a:lnTo>
                  <a:lnTo>
                    <a:pt x="2140" y="1802"/>
                  </a:lnTo>
                  <a:lnTo>
                    <a:pt x="2164" y="1760"/>
                  </a:lnTo>
                  <a:lnTo>
                    <a:pt x="2186" y="1718"/>
                  </a:lnTo>
                  <a:lnTo>
                    <a:pt x="2204" y="1674"/>
                  </a:lnTo>
                  <a:lnTo>
                    <a:pt x="2222" y="1628"/>
                  </a:lnTo>
                  <a:lnTo>
                    <a:pt x="2236" y="1584"/>
                  </a:lnTo>
                  <a:lnTo>
                    <a:pt x="2250" y="1536"/>
                  </a:lnTo>
                  <a:lnTo>
                    <a:pt x="2260" y="1488"/>
                  </a:lnTo>
                  <a:lnTo>
                    <a:pt x="2268" y="1440"/>
                  </a:lnTo>
                  <a:lnTo>
                    <a:pt x="2274" y="1390"/>
                  </a:lnTo>
                  <a:lnTo>
                    <a:pt x="2276" y="1340"/>
                  </a:lnTo>
                  <a:lnTo>
                    <a:pt x="2278" y="1290"/>
                  </a:lnTo>
                  <a:lnTo>
                    <a:pt x="2278" y="1290"/>
                  </a:lnTo>
                  <a:lnTo>
                    <a:pt x="2276" y="1238"/>
                  </a:lnTo>
                  <a:lnTo>
                    <a:pt x="2274" y="1188"/>
                  </a:lnTo>
                  <a:lnTo>
                    <a:pt x="2268" y="1138"/>
                  </a:lnTo>
                  <a:lnTo>
                    <a:pt x="2260" y="1090"/>
                  </a:lnTo>
                  <a:lnTo>
                    <a:pt x="2250" y="1042"/>
                  </a:lnTo>
                  <a:lnTo>
                    <a:pt x="2236" y="994"/>
                  </a:lnTo>
                  <a:lnTo>
                    <a:pt x="2222" y="950"/>
                  </a:lnTo>
                  <a:lnTo>
                    <a:pt x="2204" y="904"/>
                  </a:lnTo>
                  <a:lnTo>
                    <a:pt x="2186" y="860"/>
                  </a:lnTo>
                  <a:lnTo>
                    <a:pt x="2164" y="818"/>
                  </a:lnTo>
                  <a:lnTo>
                    <a:pt x="2140" y="776"/>
                  </a:lnTo>
                  <a:lnTo>
                    <a:pt x="2114" y="734"/>
                  </a:lnTo>
                  <a:lnTo>
                    <a:pt x="2086" y="694"/>
                  </a:lnTo>
                  <a:lnTo>
                    <a:pt x="2054" y="656"/>
                  </a:lnTo>
                  <a:lnTo>
                    <a:pt x="2022" y="618"/>
                  </a:lnTo>
                  <a:lnTo>
                    <a:pt x="1986" y="580"/>
                  </a:lnTo>
                  <a:lnTo>
                    <a:pt x="1986" y="580"/>
                  </a:lnTo>
                  <a:lnTo>
                    <a:pt x="1950" y="546"/>
                  </a:lnTo>
                  <a:lnTo>
                    <a:pt x="1912" y="512"/>
                  </a:lnTo>
                  <a:lnTo>
                    <a:pt x="1872" y="480"/>
                  </a:lnTo>
                  <a:lnTo>
                    <a:pt x="1834" y="452"/>
                  </a:lnTo>
                  <a:lnTo>
                    <a:pt x="1792" y="426"/>
                  </a:lnTo>
                  <a:lnTo>
                    <a:pt x="1752" y="402"/>
                  </a:lnTo>
                  <a:lnTo>
                    <a:pt x="1708" y="380"/>
                  </a:lnTo>
                  <a:lnTo>
                    <a:pt x="1666" y="360"/>
                  </a:lnTo>
                  <a:lnTo>
                    <a:pt x="1620" y="344"/>
                  </a:lnTo>
                  <a:lnTo>
                    <a:pt x="1576" y="328"/>
                  </a:lnTo>
                  <a:lnTo>
                    <a:pt x="1530" y="316"/>
                  </a:lnTo>
                  <a:lnTo>
                    <a:pt x="1482" y="306"/>
                  </a:lnTo>
                  <a:lnTo>
                    <a:pt x="1434" y="298"/>
                  </a:lnTo>
                  <a:lnTo>
                    <a:pt x="1386" y="292"/>
                  </a:lnTo>
                  <a:lnTo>
                    <a:pt x="1336" y="288"/>
                  </a:lnTo>
                  <a:lnTo>
                    <a:pt x="1284" y="288"/>
                  </a:lnTo>
                  <a:lnTo>
                    <a:pt x="1284" y="288"/>
                  </a:lnTo>
                  <a:lnTo>
                    <a:pt x="1234" y="288"/>
                  </a:lnTo>
                  <a:lnTo>
                    <a:pt x="1182" y="292"/>
                  </a:lnTo>
                  <a:lnTo>
                    <a:pt x="1134" y="298"/>
                  </a:lnTo>
                  <a:lnTo>
                    <a:pt x="1084" y="306"/>
                  </a:lnTo>
                  <a:lnTo>
                    <a:pt x="1038" y="316"/>
                  </a:lnTo>
                  <a:lnTo>
                    <a:pt x="990" y="328"/>
                  </a:lnTo>
                  <a:lnTo>
                    <a:pt x="946" y="344"/>
                  </a:lnTo>
                  <a:lnTo>
                    <a:pt x="900" y="360"/>
                  </a:lnTo>
                  <a:lnTo>
                    <a:pt x="856" y="380"/>
                  </a:lnTo>
                  <a:lnTo>
                    <a:pt x="814" y="402"/>
                  </a:lnTo>
                  <a:lnTo>
                    <a:pt x="772" y="426"/>
                  </a:lnTo>
                  <a:lnTo>
                    <a:pt x="732" y="452"/>
                  </a:lnTo>
                  <a:lnTo>
                    <a:pt x="692" y="480"/>
                  </a:lnTo>
                  <a:lnTo>
                    <a:pt x="652" y="512"/>
                  </a:lnTo>
                  <a:lnTo>
                    <a:pt x="616" y="546"/>
                  </a:lnTo>
                  <a:lnTo>
                    <a:pt x="578" y="580"/>
                  </a:lnTo>
                  <a:lnTo>
                    <a:pt x="578" y="580"/>
                  </a:lnTo>
                  <a:lnTo>
                    <a:pt x="542" y="618"/>
                  </a:lnTo>
                  <a:lnTo>
                    <a:pt x="510" y="656"/>
                  </a:lnTo>
                  <a:lnTo>
                    <a:pt x="480" y="694"/>
                  </a:lnTo>
                  <a:lnTo>
                    <a:pt x="450" y="734"/>
                  </a:lnTo>
                  <a:lnTo>
                    <a:pt x="424" y="776"/>
                  </a:lnTo>
                  <a:lnTo>
                    <a:pt x="400" y="818"/>
                  </a:lnTo>
                  <a:lnTo>
                    <a:pt x="380" y="860"/>
                  </a:lnTo>
                  <a:lnTo>
                    <a:pt x="360" y="904"/>
                  </a:lnTo>
                  <a:lnTo>
                    <a:pt x="342" y="950"/>
                  </a:lnTo>
                  <a:lnTo>
                    <a:pt x="328" y="994"/>
                  </a:lnTo>
                  <a:lnTo>
                    <a:pt x="316" y="1042"/>
                  </a:lnTo>
                  <a:lnTo>
                    <a:pt x="306" y="1090"/>
                  </a:lnTo>
                  <a:lnTo>
                    <a:pt x="298" y="1138"/>
                  </a:lnTo>
                  <a:lnTo>
                    <a:pt x="292" y="1188"/>
                  </a:lnTo>
                  <a:lnTo>
                    <a:pt x="288" y="1238"/>
                  </a:lnTo>
                  <a:lnTo>
                    <a:pt x="286" y="1290"/>
                  </a:lnTo>
                  <a:lnTo>
                    <a:pt x="286" y="1302"/>
                  </a:lnTo>
                  <a:lnTo>
                    <a:pt x="286" y="3236"/>
                  </a:lnTo>
                  <a:lnTo>
                    <a:pt x="286" y="3236"/>
                  </a:lnTo>
                  <a:lnTo>
                    <a:pt x="286" y="3250"/>
                  </a:lnTo>
                  <a:lnTo>
                    <a:pt x="284" y="3266"/>
                  </a:lnTo>
                  <a:lnTo>
                    <a:pt x="280" y="3280"/>
                  </a:lnTo>
                  <a:lnTo>
                    <a:pt x="276" y="3292"/>
                  </a:lnTo>
                  <a:lnTo>
                    <a:pt x="270" y="3306"/>
                  </a:lnTo>
                  <a:lnTo>
                    <a:pt x="264" y="3318"/>
                  </a:lnTo>
                  <a:lnTo>
                    <a:pt x="254" y="3328"/>
                  </a:lnTo>
                  <a:lnTo>
                    <a:pt x="244" y="3340"/>
                  </a:lnTo>
                  <a:lnTo>
                    <a:pt x="244" y="3340"/>
                  </a:lnTo>
                  <a:lnTo>
                    <a:pt x="234" y="3350"/>
                  </a:lnTo>
                  <a:lnTo>
                    <a:pt x="222" y="3358"/>
                  </a:lnTo>
                  <a:lnTo>
                    <a:pt x="210" y="3364"/>
                  </a:lnTo>
                  <a:lnTo>
                    <a:pt x="198" y="3370"/>
                  </a:lnTo>
                  <a:lnTo>
                    <a:pt x="184" y="3376"/>
                  </a:lnTo>
                  <a:lnTo>
                    <a:pt x="170" y="3378"/>
                  </a:lnTo>
                  <a:lnTo>
                    <a:pt x="156" y="3380"/>
                  </a:lnTo>
                  <a:lnTo>
                    <a:pt x="142" y="3382"/>
                  </a:lnTo>
                  <a:lnTo>
                    <a:pt x="142" y="3382"/>
                  </a:lnTo>
                  <a:lnTo>
                    <a:pt x="128" y="3380"/>
                  </a:lnTo>
                  <a:lnTo>
                    <a:pt x="114" y="3378"/>
                  </a:lnTo>
                  <a:lnTo>
                    <a:pt x="100" y="3376"/>
                  </a:lnTo>
                  <a:lnTo>
                    <a:pt x="88" y="3370"/>
                  </a:lnTo>
                  <a:lnTo>
                    <a:pt x="76" y="3364"/>
                  </a:lnTo>
                  <a:lnTo>
                    <a:pt x="64" y="3358"/>
                  </a:lnTo>
                  <a:lnTo>
                    <a:pt x="52" y="3350"/>
                  </a:lnTo>
                  <a:lnTo>
                    <a:pt x="42" y="3340"/>
                  </a:lnTo>
                  <a:lnTo>
                    <a:pt x="42" y="3340"/>
                  </a:lnTo>
                  <a:lnTo>
                    <a:pt x="32" y="3328"/>
                  </a:lnTo>
                  <a:lnTo>
                    <a:pt x="24" y="3318"/>
                  </a:lnTo>
                  <a:lnTo>
                    <a:pt x="16" y="3306"/>
                  </a:lnTo>
                  <a:lnTo>
                    <a:pt x="10" y="3292"/>
                  </a:lnTo>
                  <a:lnTo>
                    <a:pt x="6" y="3280"/>
                  </a:lnTo>
                  <a:lnTo>
                    <a:pt x="2" y="3266"/>
                  </a:lnTo>
                  <a:lnTo>
                    <a:pt x="0" y="3250"/>
                  </a:lnTo>
                  <a:lnTo>
                    <a:pt x="0" y="3236"/>
                  </a:lnTo>
                  <a:lnTo>
                    <a:pt x="0" y="1290"/>
                  </a:lnTo>
                  <a:lnTo>
                    <a:pt x="0" y="1290"/>
                  </a:lnTo>
                  <a:lnTo>
                    <a:pt x="2" y="1222"/>
                  </a:lnTo>
                  <a:lnTo>
                    <a:pt x="6" y="1158"/>
                  </a:lnTo>
                  <a:lnTo>
                    <a:pt x="14" y="1094"/>
                  </a:lnTo>
                  <a:lnTo>
                    <a:pt x="24" y="1032"/>
                  </a:lnTo>
                  <a:lnTo>
                    <a:pt x="36" y="970"/>
                  </a:lnTo>
                  <a:lnTo>
                    <a:pt x="52" y="910"/>
                  </a:lnTo>
                  <a:lnTo>
                    <a:pt x="72" y="852"/>
                  </a:lnTo>
                  <a:lnTo>
                    <a:pt x="94" y="794"/>
                  </a:lnTo>
                  <a:lnTo>
                    <a:pt x="118" y="738"/>
                  </a:lnTo>
                  <a:lnTo>
                    <a:pt x="146" y="682"/>
                  </a:lnTo>
                  <a:lnTo>
                    <a:pt x="178" y="628"/>
                  </a:lnTo>
                  <a:lnTo>
                    <a:pt x="210" y="576"/>
                  </a:lnTo>
                  <a:lnTo>
                    <a:pt x="248" y="524"/>
                  </a:lnTo>
                  <a:lnTo>
                    <a:pt x="288" y="474"/>
                  </a:lnTo>
                  <a:lnTo>
                    <a:pt x="330" y="426"/>
                  </a:lnTo>
                  <a:lnTo>
                    <a:pt x="376" y="378"/>
                  </a:lnTo>
                  <a:lnTo>
                    <a:pt x="376" y="378"/>
                  </a:lnTo>
                  <a:lnTo>
                    <a:pt x="422" y="332"/>
                  </a:lnTo>
                  <a:lnTo>
                    <a:pt x="472" y="290"/>
                  </a:lnTo>
                  <a:lnTo>
                    <a:pt x="522" y="250"/>
                  </a:lnTo>
                  <a:lnTo>
                    <a:pt x="572" y="212"/>
                  </a:lnTo>
                  <a:lnTo>
                    <a:pt x="626" y="178"/>
                  </a:lnTo>
                  <a:lnTo>
                    <a:pt x="678" y="148"/>
                  </a:lnTo>
                  <a:lnTo>
                    <a:pt x="734" y="120"/>
                  </a:lnTo>
                  <a:lnTo>
                    <a:pt x="790" y="94"/>
                  </a:lnTo>
                  <a:lnTo>
                    <a:pt x="848" y="72"/>
                  </a:lnTo>
                  <a:lnTo>
                    <a:pt x="906" y="54"/>
                  </a:lnTo>
                  <a:lnTo>
                    <a:pt x="966" y="38"/>
                  </a:lnTo>
                  <a:lnTo>
                    <a:pt x="1028" y="24"/>
                  </a:lnTo>
                  <a:lnTo>
                    <a:pt x="1090" y="14"/>
                  </a:lnTo>
                  <a:lnTo>
                    <a:pt x="1154" y="6"/>
                  </a:lnTo>
                  <a:lnTo>
                    <a:pt x="1218" y="2"/>
                  </a:lnTo>
                  <a:lnTo>
                    <a:pt x="1284" y="0"/>
                  </a:lnTo>
                  <a:lnTo>
                    <a:pt x="1284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72" name="Freeform 9"/>
            <p:cNvSpPr>
              <a:spLocks/>
            </p:cNvSpPr>
            <p:nvPr userDrawn="1"/>
          </p:nvSpPr>
          <p:spPr bwMode="auto">
            <a:xfrm>
              <a:off x="3909972" y="3271687"/>
              <a:ext cx="114207" cy="191185"/>
            </a:xfrm>
            <a:custGeom>
              <a:avLst/>
              <a:gdLst>
                <a:gd name="T0" fmla="*/ 1166 w 1540"/>
                <a:gd name="T1" fmla="*/ 1200 h 2578"/>
                <a:gd name="T2" fmla="*/ 1360 w 1540"/>
                <a:gd name="T3" fmla="*/ 1336 h 2578"/>
                <a:gd name="T4" fmla="*/ 1450 w 1540"/>
                <a:gd name="T5" fmla="*/ 1444 h 2578"/>
                <a:gd name="T6" fmla="*/ 1518 w 1540"/>
                <a:gd name="T7" fmla="*/ 1600 h 2578"/>
                <a:gd name="T8" fmla="*/ 1540 w 1540"/>
                <a:gd name="T9" fmla="*/ 1788 h 2578"/>
                <a:gd name="T10" fmla="*/ 1520 w 1540"/>
                <a:gd name="T11" fmla="*/ 1994 h 2578"/>
                <a:gd name="T12" fmla="*/ 1440 w 1540"/>
                <a:gd name="T13" fmla="*/ 2206 h 2578"/>
                <a:gd name="T14" fmla="*/ 1326 w 1540"/>
                <a:gd name="T15" fmla="*/ 2358 h 2578"/>
                <a:gd name="T16" fmla="*/ 1148 w 1540"/>
                <a:gd name="T17" fmla="*/ 2492 h 2578"/>
                <a:gd name="T18" fmla="*/ 934 w 1540"/>
                <a:gd name="T19" fmla="*/ 2564 h 2578"/>
                <a:gd name="T20" fmla="*/ 734 w 1540"/>
                <a:gd name="T21" fmla="*/ 2578 h 2578"/>
                <a:gd name="T22" fmla="*/ 520 w 1540"/>
                <a:gd name="T23" fmla="*/ 2544 h 2578"/>
                <a:gd name="T24" fmla="*/ 336 w 1540"/>
                <a:gd name="T25" fmla="*/ 2458 h 2578"/>
                <a:gd name="T26" fmla="*/ 204 w 1540"/>
                <a:gd name="T27" fmla="*/ 2350 h 2578"/>
                <a:gd name="T28" fmla="*/ 86 w 1540"/>
                <a:gd name="T29" fmla="*/ 2188 h 2578"/>
                <a:gd name="T30" fmla="*/ 16 w 1540"/>
                <a:gd name="T31" fmla="*/ 1992 h 2578"/>
                <a:gd name="T32" fmla="*/ 0 w 1540"/>
                <a:gd name="T33" fmla="*/ 1880 h 2578"/>
                <a:gd name="T34" fmla="*/ 28 w 1540"/>
                <a:gd name="T35" fmla="*/ 1788 h 2578"/>
                <a:gd name="T36" fmla="*/ 88 w 1540"/>
                <a:gd name="T37" fmla="*/ 1732 h 2578"/>
                <a:gd name="T38" fmla="*/ 168 w 1540"/>
                <a:gd name="T39" fmla="*/ 1712 h 2578"/>
                <a:gd name="T40" fmla="*/ 256 w 1540"/>
                <a:gd name="T41" fmla="*/ 1738 h 2578"/>
                <a:gd name="T42" fmla="*/ 310 w 1540"/>
                <a:gd name="T43" fmla="*/ 1796 h 2578"/>
                <a:gd name="T44" fmla="*/ 336 w 1540"/>
                <a:gd name="T45" fmla="*/ 1872 h 2578"/>
                <a:gd name="T46" fmla="*/ 426 w 1540"/>
                <a:gd name="T47" fmla="*/ 2118 h 2578"/>
                <a:gd name="T48" fmla="*/ 582 w 1540"/>
                <a:gd name="T49" fmla="*/ 2250 h 2578"/>
                <a:gd name="T50" fmla="*/ 782 w 1540"/>
                <a:gd name="T51" fmla="*/ 2296 h 2578"/>
                <a:gd name="T52" fmla="*/ 1026 w 1540"/>
                <a:gd name="T53" fmla="*/ 2224 h 2578"/>
                <a:gd name="T54" fmla="*/ 1176 w 1540"/>
                <a:gd name="T55" fmla="*/ 2064 h 2578"/>
                <a:gd name="T56" fmla="*/ 1226 w 1540"/>
                <a:gd name="T57" fmla="*/ 1862 h 2578"/>
                <a:gd name="T58" fmla="*/ 1164 w 1540"/>
                <a:gd name="T59" fmla="*/ 1640 h 2578"/>
                <a:gd name="T60" fmla="*/ 1012 w 1540"/>
                <a:gd name="T61" fmla="*/ 1500 h 2578"/>
                <a:gd name="T62" fmla="*/ 736 w 1540"/>
                <a:gd name="T63" fmla="*/ 1382 h 2578"/>
                <a:gd name="T64" fmla="*/ 318 w 1540"/>
                <a:gd name="T65" fmla="*/ 1184 h 2578"/>
                <a:gd name="T66" fmla="*/ 214 w 1540"/>
                <a:gd name="T67" fmla="*/ 1088 h 2578"/>
                <a:gd name="T68" fmla="*/ 130 w 1540"/>
                <a:gd name="T69" fmla="*/ 954 h 2578"/>
                <a:gd name="T70" fmla="*/ 88 w 1540"/>
                <a:gd name="T71" fmla="*/ 790 h 2578"/>
                <a:gd name="T72" fmla="*/ 90 w 1540"/>
                <a:gd name="T73" fmla="*/ 592 h 2578"/>
                <a:gd name="T74" fmla="*/ 148 w 1540"/>
                <a:gd name="T75" fmla="*/ 400 h 2578"/>
                <a:gd name="T76" fmla="*/ 262 w 1540"/>
                <a:gd name="T77" fmla="*/ 232 h 2578"/>
                <a:gd name="T78" fmla="*/ 394 w 1540"/>
                <a:gd name="T79" fmla="*/ 116 h 2578"/>
                <a:gd name="T80" fmla="*/ 572 w 1540"/>
                <a:gd name="T81" fmla="*/ 30 h 2578"/>
                <a:gd name="T82" fmla="*/ 772 w 1540"/>
                <a:gd name="T83" fmla="*/ 0 h 2578"/>
                <a:gd name="T84" fmla="*/ 1020 w 1540"/>
                <a:gd name="T85" fmla="*/ 40 h 2578"/>
                <a:gd name="T86" fmla="*/ 1230 w 1540"/>
                <a:gd name="T87" fmla="*/ 158 h 2578"/>
                <a:gd name="T88" fmla="*/ 1404 w 1540"/>
                <a:gd name="T89" fmla="*/ 380 h 2578"/>
                <a:gd name="T90" fmla="*/ 1430 w 1540"/>
                <a:gd name="T91" fmla="*/ 464 h 2578"/>
                <a:gd name="T92" fmla="*/ 1402 w 1540"/>
                <a:gd name="T93" fmla="*/ 554 h 2578"/>
                <a:gd name="T94" fmla="*/ 1342 w 1540"/>
                <a:gd name="T95" fmla="*/ 608 h 2578"/>
                <a:gd name="T96" fmla="*/ 1262 w 1540"/>
                <a:gd name="T97" fmla="*/ 626 h 2578"/>
                <a:gd name="T98" fmla="*/ 1126 w 1540"/>
                <a:gd name="T99" fmla="*/ 560 h 2578"/>
                <a:gd name="T100" fmla="*/ 1064 w 1540"/>
                <a:gd name="T101" fmla="*/ 432 h 2578"/>
                <a:gd name="T102" fmla="*/ 952 w 1540"/>
                <a:gd name="T103" fmla="*/ 330 h 2578"/>
                <a:gd name="T104" fmla="*/ 798 w 1540"/>
                <a:gd name="T105" fmla="*/ 288 h 2578"/>
                <a:gd name="T106" fmla="*/ 634 w 1540"/>
                <a:gd name="T107" fmla="*/ 316 h 2578"/>
                <a:gd name="T108" fmla="*/ 484 w 1540"/>
                <a:gd name="T109" fmla="*/ 428 h 2578"/>
                <a:gd name="T110" fmla="*/ 398 w 1540"/>
                <a:gd name="T111" fmla="*/ 616 h 2578"/>
                <a:gd name="T112" fmla="*/ 422 w 1540"/>
                <a:gd name="T113" fmla="*/ 784 h 2578"/>
                <a:gd name="T114" fmla="*/ 520 w 1540"/>
                <a:gd name="T115" fmla="*/ 912 h 2578"/>
                <a:gd name="T116" fmla="*/ 778 w 1540"/>
                <a:gd name="T117" fmla="*/ 1042 h 2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40" h="2578">
                  <a:moveTo>
                    <a:pt x="838" y="1064"/>
                  </a:moveTo>
                  <a:lnTo>
                    <a:pt x="838" y="1064"/>
                  </a:lnTo>
                  <a:lnTo>
                    <a:pt x="930" y="1096"/>
                  </a:lnTo>
                  <a:lnTo>
                    <a:pt x="1016" y="1130"/>
                  </a:lnTo>
                  <a:lnTo>
                    <a:pt x="1094" y="1164"/>
                  </a:lnTo>
                  <a:lnTo>
                    <a:pt x="1166" y="1200"/>
                  </a:lnTo>
                  <a:lnTo>
                    <a:pt x="1230" y="1238"/>
                  </a:lnTo>
                  <a:lnTo>
                    <a:pt x="1260" y="1256"/>
                  </a:lnTo>
                  <a:lnTo>
                    <a:pt x="1288" y="1276"/>
                  </a:lnTo>
                  <a:lnTo>
                    <a:pt x="1314" y="1296"/>
                  </a:lnTo>
                  <a:lnTo>
                    <a:pt x="1338" y="1316"/>
                  </a:lnTo>
                  <a:lnTo>
                    <a:pt x="1360" y="1336"/>
                  </a:lnTo>
                  <a:lnTo>
                    <a:pt x="1382" y="1356"/>
                  </a:lnTo>
                  <a:lnTo>
                    <a:pt x="1382" y="1356"/>
                  </a:lnTo>
                  <a:lnTo>
                    <a:pt x="1400" y="1376"/>
                  </a:lnTo>
                  <a:lnTo>
                    <a:pt x="1418" y="1398"/>
                  </a:lnTo>
                  <a:lnTo>
                    <a:pt x="1436" y="1420"/>
                  </a:lnTo>
                  <a:lnTo>
                    <a:pt x="1450" y="1444"/>
                  </a:lnTo>
                  <a:lnTo>
                    <a:pt x="1466" y="1468"/>
                  </a:lnTo>
                  <a:lnTo>
                    <a:pt x="1478" y="1492"/>
                  </a:lnTo>
                  <a:lnTo>
                    <a:pt x="1490" y="1518"/>
                  </a:lnTo>
                  <a:lnTo>
                    <a:pt x="1500" y="1546"/>
                  </a:lnTo>
                  <a:lnTo>
                    <a:pt x="1510" y="1572"/>
                  </a:lnTo>
                  <a:lnTo>
                    <a:pt x="1518" y="1600"/>
                  </a:lnTo>
                  <a:lnTo>
                    <a:pt x="1524" y="1630"/>
                  </a:lnTo>
                  <a:lnTo>
                    <a:pt x="1530" y="1660"/>
                  </a:lnTo>
                  <a:lnTo>
                    <a:pt x="1534" y="1690"/>
                  </a:lnTo>
                  <a:lnTo>
                    <a:pt x="1538" y="1722"/>
                  </a:lnTo>
                  <a:lnTo>
                    <a:pt x="1540" y="1754"/>
                  </a:lnTo>
                  <a:lnTo>
                    <a:pt x="1540" y="1788"/>
                  </a:lnTo>
                  <a:lnTo>
                    <a:pt x="1540" y="1788"/>
                  </a:lnTo>
                  <a:lnTo>
                    <a:pt x="1540" y="1830"/>
                  </a:lnTo>
                  <a:lnTo>
                    <a:pt x="1536" y="1874"/>
                  </a:lnTo>
                  <a:lnTo>
                    <a:pt x="1532" y="1914"/>
                  </a:lnTo>
                  <a:lnTo>
                    <a:pt x="1526" y="1954"/>
                  </a:lnTo>
                  <a:lnTo>
                    <a:pt x="1520" y="1994"/>
                  </a:lnTo>
                  <a:lnTo>
                    <a:pt x="1510" y="2032"/>
                  </a:lnTo>
                  <a:lnTo>
                    <a:pt x="1500" y="2068"/>
                  </a:lnTo>
                  <a:lnTo>
                    <a:pt x="1486" y="2104"/>
                  </a:lnTo>
                  <a:lnTo>
                    <a:pt x="1472" y="2140"/>
                  </a:lnTo>
                  <a:lnTo>
                    <a:pt x="1456" y="2174"/>
                  </a:lnTo>
                  <a:lnTo>
                    <a:pt x="1440" y="2206"/>
                  </a:lnTo>
                  <a:lnTo>
                    <a:pt x="1420" y="2238"/>
                  </a:lnTo>
                  <a:lnTo>
                    <a:pt x="1398" y="2270"/>
                  </a:lnTo>
                  <a:lnTo>
                    <a:pt x="1376" y="2300"/>
                  </a:lnTo>
                  <a:lnTo>
                    <a:pt x="1352" y="2330"/>
                  </a:lnTo>
                  <a:lnTo>
                    <a:pt x="1326" y="2358"/>
                  </a:lnTo>
                  <a:lnTo>
                    <a:pt x="1326" y="2358"/>
                  </a:lnTo>
                  <a:lnTo>
                    <a:pt x="1298" y="2384"/>
                  </a:lnTo>
                  <a:lnTo>
                    <a:pt x="1270" y="2410"/>
                  </a:lnTo>
                  <a:lnTo>
                    <a:pt x="1242" y="2432"/>
                  </a:lnTo>
                  <a:lnTo>
                    <a:pt x="1212" y="2454"/>
                  </a:lnTo>
                  <a:lnTo>
                    <a:pt x="1180" y="2474"/>
                  </a:lnTo>
                  <a:lnTo>
                    <a:pt x="1148" y="2492"/>
                  </a:lnTo>
                  <a:lnTo>
                    <a:pt x="1114" y="2508"/>
                  </a:lnTo>
                  <a:lnTo>
                    <a:pt x="1080" y="2522"/>
                  </a:lnTo>
                  <a:lnTo>
                    <a:pt x="1046" y="2536"/>
                  </a:lnTo>
                  <a:lnTo>
                    <a:pt x="1010" y="2546"/>
                  </a:lnTo>
                  <a:lnTo>
                    <a:pt x="972" y="2556"/>
                  </a:lnTo>
                  <a:lnTo>
                    <a:pt x="934" y="2564"/>
                  </a:lnTo>
                  <a:lnTo>
                    <a:pt x="896" y="2570"/>
                  </a:lnTo>
                  <a:lnTo>
                    <a:pt x="856" y="2574"/>
                  </a:lnTo>
                  <a:lnTo>
                    <a:pt x="814" y="2578"/>
                  </a:lnTo>
                  <a:lnTo>
                    <a:pt x="772" y="2578"/>
                  </a:lnTo>
                  <a:lnTo>
                    <a:pt x="772" y="2578"/>
                  </a:lnTo>
                  <a:lnTo>
                    <a:pt x="734" y="2578"/>
                  </a:lnTo>
                  <a:lnTo>
                    <a:pt x="696" y="2576"/>
                  </a:lnTo>
                  <a:lnTo>
                    <a:pt x="660" y="2572"/>
                  </a:lnTo>
                  <a:lnTo>
                    <a:pt x="624" y="2566"/>
                  </a:lnTo>
                  <a:lnTo>
                    <a:pt x="588" y="2560"/>
                  </a:lnTo>
                  <a:lnTo>
                    <a:pt x="554" y="2552"/>
                  </a:lnTo>
                  <a:lnTo>
                    <a:pt x="520" y="2544"/>
                  </a:lnTo>
                  <a:lnTo>
                    <a:pt x="488" y="2532"/>
                  </a:lnTo>
                  <a:lnTo>
                    <a:pt x="456" y="2520"/>
                  </a:lnTo>
                  <a:lnTo>
                    <a:pt x="424" y="2508"/>
                  </a:lnTo>
                  <a:lnTo>
                    <a:pt x="394" y="2492"/>
                  </a:lnTo>
                  <a:lnTo>
                    <a:pt x="364" y="2476"/>
                  </a:lnTo>
                  <a:lnTo>
                    <a:pt x="336" y="2458"/>
                  </a:lnTo>
                  <a:lnTo>
                    <a:pt x="308" y="2440"/>
                  </a:lnTo>
                  <a:lnTo>
                    <a:pt x="280" y="2418"/>
                  </a:lnTo>
                  <a:lnTo>
                    <a:pt x="254" y="2398"/>
                  </a:lnTo>
                  <a:lnTo>
                    <a:pt x="254" y="2398"/>
                  </a:lnTo>
                  <a:lnTo>
                    <a:pt x="228" y="2374"/>
                  </a:lnTo>
                  <a:lnTo>
                    <a:pt x="204" y="2350"/>
                  </a:lnTo>
                  <a:lnTo>
                    <a:pt x="180" y="2326"/>
                  </a:lnTo>
                  <a:lnTo>
                    <a:pt x="160" y="2300"/>
                  </a:lnTo>
                  <a:lnTo>
                    <a:pt x="140" y="2272"/>
                  </a:lnTo>
                  <a:lnTo>
                    <a:pt x="120" y="2246"/>
                  </a:lnTo>
                  <a:lnTo>
                    <a:pt x="102" y="2216"/>
                  </a:lnTo>
                  <a:lnTo>
                    <a:pt x="86" y="2188"/>
                  </a:lnTo>
                  <a:lnTo>
                    <a:pt x="72" y="2158"/>
                  </a:lnTo>
                  <a:lnTo>
                    <a:pt x="58" y="2126"/>
                  </a:lnTo>
                  <a:lnTo>
                    <a:pt x="46" y="2094"/>
                  </a:lnTo>
                  <a:lnTo>
                    <a:pt x="34" y="2060"/>
                  </a:lnTo>
                  <a:lnTo>
                    <a:pt x="26" y="2028"/>
                  </a:lnTo>
                  <a:lnTo>
                    <a:pt x="16" y="1992"/>
                  </a:lnTo>
                  <a:lnTo>
                    <a:pt x="10" y="1956"/>
                  </a:lnTo>
                  <a:lnTo>
                    <a:pt x="4" y="1920"/>
                  </a:lnTo>
                  <a:lnTo>
                    <a:pt x="4" y="1920"/>
                  </a:lnTo>
                  <a:lnTo>
                    <a:pt x="0" y="1904"/>
                  </a:lnTo>
                  <a:lnTo>
                    <a:pt x="0" y="1880"/>
                  </a:lnTo>
                  <a:lnTo>
                    <a:pt x="0" y="1880"/>
                  </a:lnTo>
                  <a:lnTo>
                    <a:pt x="0" y="1864"/>
                  </a:lnTo>
                  <a:lnTo>
                    <a:pt x="2" y="1846"/>
                  </a:lnTo>
                  <a:lnTo>
                    <a:pt x="6" y="1830"/>
                  </a:lnTo>
                  <a:lnTo>
                    <a:pt x="12" y="1816"/>
                  </a:lnTo>
                  <a:lnTo>
                    <a:pt x="18" y="1800"/>
                  </a:lnTo>
                  <a:lnTo>
                    <a:pt x="28" y="1788"/>
                  </a:lnTo>
                  <a:lnTo>
                    <a:pt x="36" y="1774"/>
                  </a:lnTo>
                  <a:lnTo>
                    <a:pt x="48" y="1762"/>
                  </a:lnTo>
                  <a:lnTo>
                    <a:pt x="48" y="1762"/>
                  </a:lnTo>
                  <a:lnTo>
                    <a:pt x="60" y="1750"/>
                  </a:lnTo>
                  <a:lnTo>
                    <a:pt x="74" y="1740"/>
                  </a:lnTo>
                  <a:lnTo>
                    <a:pt x="88" y="1732"/>
                  </a:lnTo>
                  <a:lnTo>
                    <a:pt x="102" y="1724"/>
                  </a:lnTo>
                  <a:lnTo>
                    <a:pt x="118" y="1720"/>
                  </a:lnTo>
                  <a:lnTo>
                    <a:pt x="134" y="1716"/>
                  </a:lnTo>
                  <a:lnTo>
                    <a:pt x="150" y="1714"/>
                  </a:lnTo>
                  <a:lnTo>
                    <a:pt x="168" y="1712"/>
                  </a:lnTo>
                  <a:lnTo>
                    <a:pt x="168" y="1712"/>
                  </a:lnTo>
                  <a:lnTo>
                    <a:pt x="184" y="1714"/>
                  </a:lnTo>
                  <a:lnTo>
                    <a:pt x="200" y="1716"/>
                  </a:lnTo>
                  <a:lnTo>
                    <a:pt x="214" y="1720"/>
                  </a:lnTo>
                  <a:lnTo>
                    <a:pt x="228" y="1724"/>
                  </a:lnTo>
                  <a:lnTo>
                    <a:pt x="242" y="1730"/>
                  </a:lnTo>
                  <a:lnTo>
                    <a:pt x="256" y="1738"/>
                  </a:lnTo>
                  <a:lnTo>
                    <a:pt x="268" y="1748"/>
                  </a:lnTo>
                  <a:lnTo>
                    <a:pt x="280" y="1760"/>
                  </a:lnTo>
                  <a:lnTo>
                    <a:pt x="280" y="1760"/>
                  </a:lnTo>
                  <a:lnTo>
                    <a:pt x="292" y="1772"/>
                  </a:lnTo>
                  <a:lnTo>
                    <a:pt x="300" y="1784"/>
                  </a:lnTo>
                  <a:lnTo>
                    <a:pt x="310" y="1796"/>
                  </a:lnTo>
                  <a:lnTo>
                    <a:pt x="318" y="1810"/>
                  </a:lnTo>
                  <a:lnTo>
                    <a:pt x="324" y="1824"/>
                  </a:lnTo>
                  <a:lnTo>
                    <a:pt x="328" y="1840"/>
                  </a:lnTo>
                  <a:lnTo>
                    <a:pt x="332" y="1856"/>
                  </a:lnTo>
                  <a:lnTo>
                    <a:pt x="336" y="1872"/>
                  </a:lnTo>
                  <a:lnTo>
                    <a:pt x="336" y="1872"/>
                  </a:lnTo>
                  <a:lnTo>
                    <a:pt x="342" y="1920"/>
                  </a:lnTo>
                  <a:lnTo>
                    <a:pt x="352" y="1964"/>
                  </a:lnTo>
                  <a:lnTo>
                    <a:pt x="366" y="2006"/>
                  </a:lnTo>
                  <a:lnTo>
                    <a:pt x="382" y="2046"/>
                  </a:lnTo>
                  <a:lnTo>
                    <a:pt x="402" y="2084"/>
                  </a:lnTo>
                  <a:lnTo>
                    <a:pt x="426" y="2118"/>
                  </a:lnTo>
                  <a:lnTo>
                    <a:pt x="452" y="2150"/>
                  </a:lnTo>
                  <a:lnTo>
                    <a:pt x="480" y="2180"/>
                  </a:lnTo>
                  <a:lnTo>
                    <a:pt x="480" y="2180"/>
                  </a:lnTo>
                  <a:lnTo>
                    <a:pt x="512" y="2208"/>
                  </a:lnTo>
                  <a:lnTo>
                    <a:pt x="546" y="2230"/>
                  </a:lnTo>
                  <a:lnTo>
                    <a:pt x="582" y="2250"/>
                  </a:lnTo>
                  <a:lnTo>
                    <a:pt x="618" y="2266"/>
                  </a:lnTo>
                  <a:lnTo>
                    <a:pt x="656" y="2280"/>
                  </a:lnTo>
                  <a:lnTo>
                    <a:pt x="696" y="2288"/>
                  </a:lnTo>
                  <a:lnTo>
                    <a:pt x="738" y="2294"/>
                  </a:lnTo>
                  <a:lnTo>
                    <a:pt x="782" y="2296"/>
                  </a:lnTo>
                  <a:lnTo>
                    <a:pt x="782" y="2296"/>
                  </a:lnTo>
                  <a:lnTo>
                    <a:pt x="826" y="2294"/>
                  </a:lnTo>
                  <a:lnTo>
                    <a:pt x="868" y="2288"/>
                  </a:lnTo>
                  <a:lnTo>
                    <a:pt x="910" y="2278"/>
                  </a:lnTo>
                  <a:lnTo>
                    <a:pt x="950" y="2264"/>
                  </a:lnTo>
                  <a:lnTo>
                    <a:pt x="988" y="2246"/>
                  </a:lnTo>
                  <a:lnTo>
                    <a:pt x="1026" y="2224"/>
                  </a:lnTo>
                  <a:lnTo>
                    <a:pt x="1060" y="2198"/>
                  </a:lnTo>
                  <a:lnTo>
                    <a:pt x="1094" y="2168"/>
                  </a:lnTo>
                  <a:lnTo>
                    <a:pt x="1094" y="2168"/>
                  </a:lnTo>
                  <a:lnTo>
                    <a:pt x="1126" y="2134"/>
                  </a:lnTo>
                  <a:lnTo>
                    <a:pt x="1152" y="2100"/>
                  </a:lnTo>
                  <a:lnTo>
                    <a:pt x="1176" y="2064"/>
                  </a:lnTo>
                  <a:lnTo>
                    <a:pt x="1194" y="2028"/>
                  </a:lnTo>
                  <a:lnTo>
                    <a:pt x="1208" y="1988"/>
                  </a:lnTo>
                  <a:lnTo>
                    <a:pt x="1218" y="1948"/>
                  </a:lnTo>
                  <a:lnTo>
                    <a:pt x="1224" y="1906"/>
                  </a:lnTo>
                  <a:lnTo>
                    <a:pt x="1226" y="1862"/>
                  </a:lnTo>
                  <a:lnTo>
                    <a:pt x="1226" y="1862"/>
                  </a:lnTo>
                  <a:lnTo>
                    <a:pt x="1226" y="1820"/>
                  </a:lnTo>
                  <a:lnTo>
                    <a:pt x="1220" y="1780"/>
                  </a:lnTo>
                  <a:lnTo>
                    <a:pt x="1212" y="1742"/>
                  </a:lnTo>
                  <a:lnTo>
                    <a:pt x="1200" y="1706"/>
                  </a:lnTo>
                  <a:lnTo>
                    <a:pt x="1184" y="1672"/>
                  </a:lnTo>
                  <a:lnTo>
                    <a:pt x="1164" y="1640"/>
                  </a:lnTo>
                  <a:lnTo>
                    <a:pt x="1142" y="1608"/>
                  </a:lnTo>
                  <a:lnTo>
                    <a:pt x="1116" y="1580"/>
                  </a:lnTo>
                  <a:lnTo>
                    <a:pt x="1116" y="1580"/>
                  </a:lnTo>
                  <a:lnTo>
                    <a:pt x="1086" y="1554"/>
                  </a:lnTo>
                  <a:lnTo>
                    <a:pt x="1052" y="1526"/>
                  </a:lnTo>
                  <a:lnTo>
                    <a:pt x="1012" y="1500"/>
                  </a:lnTo>
                  <a:lnTo>
                    <a:pt x="966" y="1476"/>
                  </a:lnTo>
                  <a:lnTo>
                    <a:pt x="916" y="1452"/>
                  </a:lnTo>
                  <a:lnTo>
                    <a:pt x="862" y="1428"/>
                  </a:lnTo>
                  <a:lnTo>
                    <a:pt x="802" y="1404"/>
                  </a:lnTo>
                  <a:lnTo>
                    <a:pt x="736" y="1382"/>
                  </a:lnTo>
                  <a:lnTo>
                    <a:pt x="736" y="1382"/>
                  </a:lnTo>
                  <a:lnTo>
                    <a:pt x="650" y="1352"/>
                  </a:lnTo>
                  <a:lnTo>
                    <a:pt x="572" y="1320"/>
                  </a:lnTo>
                  <a:lnTo>
                    <a:pt x="498" y="1288"/>
                  </a:lnTo>
                  <a:lnTo>
                    <a:pt x="432" y="1254"/>
                  </a:lnTo>
                  <a:lnTo>
                    <a:pt x="372" y="1220"/>
                  </a:lnTo>
                  <a:lnTo>
                    <a:pt x="318" y="1184"/>
                  </a:lnTo>
                  <a:lnTo>
                    <a:pt x="294" y="1164"/>
                  </a:lnTo>
                  <a:lnTo>
                    <a:pt x="272" y="1146"/>
                  </a:lnTo>
                  <a:lnTo>
                    <a:pt x="250" y="1128"/>
                  </a:lnTo>
                  <a:lnTo>
                    <a:pt x="232" y="1108"/>
                  </a:lnTo>
                  <a:lnTo>
                    <a:pt x="232" y="1108"/>
                  </a:lnTo>
                  <a:lnTo>
                    <a:pt x="214" y="1088"/>
                  </a:lnTo>
                  <a:lnTo>
                    <a:pt x="196" y="1068"/>
                  </a:lnTo>
                  <a:lnTo>
                    <a:pt x="182" y="1046"/>
                  </a:lnTo>
                  <a:lnTo>
                    <a:pt x="166" y="1024"/>
                  </a:lnTo>
                  <a:lnTo>
                    <a:pt x="154" y="1002"/>
                  </a:lnTo>
                  <a:lnTo>
                    <a:pt x="142" y="978"/>
                  </a:lnTo>
                  <a:lnTo>
                    <a:pt x="130" y="954"/>
                  </a:lnTo>
                  <a:lnTo>
                    <a:pt x="120" y="928"/>
                  </a:lnTo>
                  <a:lnTo>
                    <a:pt x="112" y="902"/>
                  </a:lnTo>
                  <a:lnTo>
                    <a:pt x="104" y="876"/>
                  </a:lnTo>
                  <a:lnTo>
                    <a:pt x="98" y="848"/>
                  </a:lnTo>
                  <a:lnTo>
                    <a:pt x="92" y="820"/>
                  </a:lnTo>
                  <a:lnTo>
                    <a:pt x="88" y="790"/>
                  </a:lnTo>
                  <a:lnTo>
                    <a:pt x="86" y="760"/>
                  </a:lnTo>
                  <a:lnTo>
                    <a:pt x="84" y="698"/>
                  </a:lnTo>
                  <a:lnTo>
                    <a:pt x="84" y="698"/>
                  </a:lnTo>
                  <a:lnTo>
                    <a:pt x="84" y="662"/>
                  </a:lnTo>
                  <a:lnTo>
                    <a:pt x="86" y="628"/>
                  </a:lnTo>
                  <a:lnTo>
                    <a:pt x="90" y="592"/>
                  </a:lnTo>
                  <a:lnTo>
                    <a:pt x="96" y="560"/>
                  </a:lnTo>
                  <a:lnTo>
                    <a:pt x="104" y="526"/>
                  </a:lnTo>
                  <a:lnTo>
                    <a:pt x="112" y="494"/>
                  </a:lnTo>
                  <a:lnTo>
                    <a:pt x="122" y="462"/>
                  </a:lnTo>
                  <a:lnTo>
                    <a:pt x="134" y="432"/>
                  </a:lnTo>
                  <a:lnTo>
                    <a:pt x="148" y="400"/>
                  </a:lnTo>
                  <a:lnTo>
                    <a:pt x="162" y="370"/>
                  </a:lnTo>
                  <a:lnTo>
                    <a:pt x="180" y="342"/>
                  </a:lnTo>
                  <a:lnTo>
                    <a:pt x="198" y="314"/>
                  </a:lnTo>
                  <a:lnTo>
                    <a:pt x="218" y="286"/>
                  </a:lnTo>
                  <a:lnTo>
                    <a:pt x="240" y="258"/>
                  </a:lnTo>
                  <a:lnTo>
                    <a:pt x="262" y="232"/>
                  </a:lnTo>
                  <a:lnTo>
                    <a:pt x="286" y="206"/>
                  </a:lnTo>
                  <a:lnTo>
                    <a:pt x="286" y="206"/>
                  </a:lnTo>
                  <a:lnTo>
                    <a:pt x="312" y="180"/>
                  </a:lnTo>
                  <a:lnTo>
                    <a:pt x="338" y="158"/>
                  </a:lnTo>
                  <a:lnTo>
                    <a:pt x="366" y="136"/>
                  </a:lnTo>
                  <a:lnTo>
                    <a:pt x="394" y="116"/>
                  </a:lnTo>
                  <a:lnTo>
                    <a:pt x="422" y="98"/>
                  </a:lnTo>
                  <a:lnTo>
                    <a:pt x="450" y="80"/>
                  </a:lnTo>
                  <a:lnTo>
                    <a:pt x="480" y="66"/>
                  </a:lnTo>
                  <a:lnTo>
                    <a:pt x="510" y="52"/>
                  </a:lnTo>
                  <a:lnTo>
                    <a:pt x="540" y="40"/>
                  </a:lnTo>
                  <a:lnTo>
                    <a:pt x="572" y="30"/>
                  </a:lnTo>
                  <a:lnTo>
                    <a:pt x="604" y="20"/>
                  </a:lnTo>
                  <a:lnTo>
                    <a:pt x="636" y="12"/>
                  </a:lnTo>
                  <a:lnTo>
                    <a:pt x="670" y="8"/>
                  </a:lnTo>
                  <a:lnTo>
                    <a:pt x="702" y="4"/>
                  </a:lnTo>
                  <a:lnTo>
                    <a:pt x="738" y="0"/>
                  </a:lnTo>
                  <a:lnTo>
                    <a:pt x="772" y="0"/>
                  </a:lnTo>
                  <a:lnTo>
                    <a:pt x="772" y="0"/>
                  </a:lnTo>
                  <a:lnTo>
                    <a:pt x="824" y="2"/>
                  </a:lnTo>
                  <a:lnTo>
                    <a:pt x="876" y="6"/>
                  </a:lnTo>
                  <a:lnTo>
                    <a:pt x="924" y="14"/>
                  </a:lnTo>
                  <a:lnTo>
                    <a:pt x="974" y="26"/>
                  </a:lnTo>
                  <a:lnTo>
                    <a:pt x="1020" y="40"/>
                  </a:lnTo>
                  <a:lnTo>
                    <a:pt x="1066" y="58"/>
                  </a:lnTo>
                  <a:lnTo>
                    <a:pt x="1110" y="78"/>
                  </a:lnTo>
                  <a:lnTo>
                    <a:pt x="1152" y="102"/>
                  </a:lnTo>
                  <a:lnTo>
                    <a:pt x="1152" y="102"/>
                  </a:lnTo>
                  <a:lnTo>
                    <a:pt x="1192" y="128"/>
                  </a:lnTo>
                  <a:lnTo>
                    <a:pt x="1230" y="158"/>
                  </a:lnTo>
                  <a:lnTo>
                    <a:pt x="1266" y="188"/>
                  </a:lnTo>
                  <a:lnTo>
                    <a:pt x="1298" y="222"/>
                  </a:lnTo>
                  <a:lnTo>
                    <a:pt x="1328" y="258"/>
                  </a:lnTo>
                  <a:lnTo>
                    <a:pt x="1356" y="296"/>
                  </a:lnTo>
                  <a:lnTo>
                    <a:pt x="1382" y="336"/>
                  </a:lnTo>
                  <a:lnTo>
                    <a:pt x="1404" y="380"/>
                  </a:lnTo>
                  <a:lnTo>
                    <a:pt x="1416" y="402"/>
                  </a:lnTo>
                  <a:lnTo>
                    <a:pt x="1422" y="410"/>
                  </a:lnTo>
                  <a:lnTo>
                    <a:pt x="1422" y="410"/>
                  </a:lnTo>
                  <a:lnTo>
                    <a:pt x="1428" y="438"/>
                  </a:lnTo>
                  <a:lnTo>
                    <a:pt x="1430" y="464"/>
                  </a:lnTo>
                  <a:lnTo>
                    <a:pt x="1430" y="464"/>
                  </a:lnTo>
                  <a:lnTo>
                    <a:pt x="1430" y="480"/>
                  </a:lnTo>
                  <a:lnTo>
                    <a:pt x="1426" y="496"/>
                  </a:lnTo>
                  <a:lnTo>
                    <a:pt x="1424" y="510"/>
                  </a:lnTo>
                  <a:lnTo>
                    <a:pt x="1418" y="526"/>
                  </a:lnTo>
                  <a:lnTo>
                    <a:pt x="1410" y="540"/>
                  </a:lnTo>
                  <a:lnTo>
                    <a:pt x="1402" y="554"/>
                  </a:lnTo>
                  <a:lnTo>
                    <a:pt x="1392" y="566"/>
                  </a:lnTo>
                  <a:lnTo>
                    <a:pt x="1382" y="578"/>
                  </a:lnTo>
                  <a:lnTo>
                    <a:pt x="1382" y="578"/>
                  </a:lnTo>
                  <a:lnTo>
                    <a:pt x="1368" y="590"/>
                  </a:lnTo>
                  <a:lnTo>
                    <a:pt x="1356" y="600"/>
                  </a:lnTo>
                  <a:lnTo>
                    <a:pt x="1342" y="608"/>
                  </a:lnTo>
                  <a:lnTo>
                    <a:pt x="1328" y="614"/>
                  </a:lnTo>
                  <a:lnTo>
                    <a:pt x="1312" y="620"/>
                  </a:lnTo>
                  <a:lnTo>
                    <a:pt x="1296" y="624"/>
                  </a:lnTo>
                  <a:lnTo>
                    <a:pt x="1280" y="626"/>
                  </a:lnTo>
                  <a:lnTo>
                    <a:pt x="1262" y="626"/>
                  </a:lnTo>
                  <a:lnTo>
                    <a:pt x="1262" y="626"/>
                  </a:lnTo>
                  <a:lnTo>
                    <a:pt x="1232" y="626"/>
                  </a:lnTo>
                  <a:lnTo>
                    <a:pt x="1206" y="620"/>
                  </a:lnTo>
                  <a:lnTo>
                    <a:pt x="1182" y="610"/>
                  </a:lnTo>
                  <a:lnTo>
                    <a:pt x="1160" y="598"/>
                  </a:lnTo>
                  <a:lnTo>
                    <a:pt x="1142" y="580"/>
                  </a:lnTo>
                  <a:lnTo>
                    <a:pt x="1126" y="560"/>
                  </a:lnTo>
                  <a:lnTo>
                    <a:pt x="1114" y="536"/>
                  </a:lnTo>
                  <a:lnTo>
                    <a:pt x="1104" y="508"/>
                  </a:lnTo>
                  <a:lnTo>
                    <a:pt x="1104" y="508"/>
                  </a:lnTo>
                  <a:lnTo>
                    <a:pt x="1092" y="482"/>
                  </a:lnTo>
                  <a:lnTo>
                    <a:pt x="1078" y="456"/>
                  </a:lnTo>
                  <a:lnTo>
                    <a:pt x="1064" y="432"/>
                  </a:lnTo>
                  <a:lnTo>
                    <a:pt x="1048" y="412"/>
                  </a:lnTo>
                  <a:lnTo>
                    <a:pt x="1030" y="392"/>
                  </a:lnTo>
                  <a:lnTo>
                    <a:pt x="1012" y="374"/>
                  </a:lnTo>
                  <a:lnTo>
                    <a:pt x="994" y="356"/>
                  </a:lnTo>
                  <a:lnTo>
                    <a:pt x="974" y="342"/>
                  </a:lnTo>
                  <a:lnTo>
                    <a:pt x="952" y="330"/>
                  </a:lnTo>
                  <a:lnTo>
                    <a:pt x="928" y="318"/>
                  </a:lnTo>
                  <a:lnTo>
                    <a:pt x="904" y="308"/>
                  </a:lnTo>
                  <a:lnTo>
                    <a:pt x="880" y="300"/>
                  </a:lnTo>
                  <a:lnTo>
                    <a:pt x="854" y="294"/>
                  </a:lnTo>
                  <a:lnTo>
                    <a:pt x="826" y="290"/>
                  </a:lnTo>
                  <a:lnTo>
                    <a:pt x="798" y="288"/>
                  </a:lnTo>
                  <a:lnTo>
                    <a:pt x="768" y="288"/>
                  </a:lnTo>
                  <a:lnTo>
                    <a:pt x="768" y="288"/>
                  </a:lnTo>
                  <a:lnTo>
                    <a:pt x="732" y="288"/>
                  </a:lnTo>
                  <a:lnTo>
                    <a:pt x="698" y="294"/>
                  </a:lnTo>
                  <a:lnTo>
                    <a:pt x="666" y="302"/>
                  </a:lnTo>
                  <a:lnTo>
                    <a:pt x="634" y="316"/>
                  </a:lnTo>
                  <a:lnTo>
                    <a:pt x="602" y="332"/>
                  </a:lnTo>
                  <a:lnTo>
                    <a:pt x="570" y="350"/>
                  </a:lnTo>
                  <a:lnTo>
                    <a:pt x="540" y="374"/>
                  </a:lnTo>
                  <a:lnTo>
                    <a:pt x="512" y="400"/>
                  </a:lnTo>
                  <a:lnTo>
                    <a:pt x="512" y="400"/>
                  </a:lnTo>
                  <a:lnTo>
                    <a:pt x="484" y="428"/>
                  </a:lnTo>
                  <a:lnTo>
                    <a:pt x="462" y="458"/>
                  </a:lnTo>
                  <a:lnTo>
                    <a:pt x="442" y="488"/>
                  </a:lnTo>
                  <a:lnTo>
                    <a:pt x="426" y="518"/>
                  </a:lnTo>
                  <a:lnTo>
                    <a:pt x="414" y="550"/>
                  </a:lnTo>
                  <a:lnTo>
                    <a:pt x="404" y="582"/>
                  </a:lnTo>
                  <a:lnTo>
                    <a:pt x="398" y="616"/>
                  </a:lnTo>
                  <a:lnTo>
                    <a:pt x="398" y="650"/>
                  </a:lnTo>
                  <a:lnTo>
                    <a:pt x="398" y="650"/>
                  </a:lnTo>
                  <a:lnTo>
                    <a:pt x="398" y="686"/>
                  </a:lnTo>
                  <a:lnTo>
                    <a:pt x="404" y="720"/>
                  </a:lnTo>
                  <a:lnTo>
                    <a:pt x="410" y="754"/>
                  </a:lnTo>
                  <a:lnTo>
                    <a:pt x="422" y="784"/>
                  </a:lnTo>
                  <a:lnTo>
                    <a:pt x="434" y="814"/>
                  </a:lnTo>
                  <a:lnTo>
                    <a:pt x="452" y="840"/>
                  </a:lnTo>
                  <a:lnTo>
                    <a:pt x="472" y="866"/>
                  </a:lnTo>
                  <a:lnTo>
                    <a:pt x="494" y="890"/>
                  </a:lnTo>
                  <a:lnTo>
                    <a:pt x="494" y="890"/>
                  </a:lnTo>
                  <a:lnTo>
                    <a:pt x="520" y="912"/>
                  </a:lnTo>
                  <a:lnTo>
                    <a:pt x="552" y="934"/>
                  </a:lnTo>
                  <a:lnTo>
                    <a:pt x="588" y="956"/>
                  </a:lnTo>
                  <a:lnTo>
                    <a:pt x="628" y="978"/>
                  </a:lnTo>
                  <a:lnTo>
                    <a:pt x="674" y="1000"/>
                  </a:lnTo>
                  <a:lnTo>
                    <a:pt x="724" y="1022"/>
                  </a:lnTo>
                  <a:lnTo>
                    <a:pt x="778" y="1042"/>
                  </a:lnTo>
                  <a:lnTo>
                    <a:pt x="838" y="1064"/>
                  </a:lnTo>
                  <a:lnTo>
                    <a:pt x="838" y="10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73" name="Freeform 10"/>
            <p:cNvSpPr>
              <a:spLocks noEditPoints="1"/>
            </p:cNvSpPr>
            <p:nvPr userDrawn="1"/>
          </p:nvSpPr>
          <p:spPr bwMode="auto">
            <a:xfrm>
              <a:off x="4043905" y="3220664"/>
              <a:ext cx="31296" cy="242504"/>
            </a:xfrm>
            <a:custGeom>
              <a:avLst/>
              <a:gdLst>
                <a:gd name="T0" fmla="*/ 0 w 422"/>
                <a:gd name="T1" fmla="*/ 212 h 3270"/>
                <a:gd name="T2" fmla="*/ 2 w 422"/>
                <a:gd name="T3" fmla="*/ 168 h 3270"/>
                <a:gd name="T4" fmla="*/ 14 w 422"/>
                <a:gd name="T5" fmla="*/ 130 h 3270"/>
                <a:gd name="T6" fmla="*/ 34 w 422"/>
                <a:gd name="T7" fmla="*/ 94 h 3270"/>
                <a:gd name="T8" fmla="*/ 60 w 422"/>
                <a:gd name="T9" fmla="*/ 62 h 3270"/>
                <a:gd name="T10" fmla="*/ 76 w 422"/>
                <a:gd name="T11" fmla="*/ 46 h 3270"/>
                <a:gd name="T12" fmla="*/ 110 w 422"/>
                <a:gd name="T13" fmla="*/ 24 h 3270"/>
                <a:gd name="T14" fmla="*/ 148 w 422"/>
                <a:gd name="T15" fmla="*/ 8 h 3270"/>
                <a:gd name="T16" fmla="*/ 190 w 422"/>
                <a:gd name="T17" fmla="*/ 0 h 3270"/>
                <a:gd name="T18" fmla="*/ 210 w 422"/>
                <a:gd name="T19" fmla="*/ 0 h 3270"/>
                <a:gd name="T20" fmla="*/ 254 w 422"/>
                <a:gd name="T21" fmla="*/ 4 h 3270"/>
                <a:gd name="T22" fmla="*/ 292 w 422"/>
                <a:gd name="T23" fmla="*/ 16 h 3270"/>
                <a:gd name="T24" fmla="*/ 328 w 422"/>
                <a:gd name="T25" fmla="*/ 34 h 3270"/>
                <a:gd name="T26" fmla="*/ 362 w 422"/>
                <a:gd name="T27" fmla="*/ 62 h 3270"/>
                <a:gd name="T28" fmla="*/ 376 w 422"/>
                <a:gd name="T29" fmla="*/ 78 h 3270"/>
                <a:gd name="T30" fmla="*/ 398 w 422"/>
                <a:gd name="T31" fmla="*/ 112 h 3270"/>
                <a:gd name="T32" fmla="*/ 414 w 422"/>
                <a:gd name="T33" fmla="*/ 148 h 3270"/>
                <a:gd name="T34" fmla="*/ 422 w 422"/>
                <a:gd name="T35" fmla="*/ 190 h 3270"/>
                <a:gd name="T36" fmla="*/ 422 w 422"/>
                <a:gd name="T37" fmla="*/ 212 h 3270"/>
                <a:gd name="T38" fmla="*/ 418 w 422"/>
                <a:gd name="T39" fmla="*/ 254 h 3270"/>
                <a:gd name="T40" fmla="*/ 408 w 422"/>
                <a:gd name="T41" fmla="*/ 294 h 3270"/>
                <a:gd name="T42" fmla="*/ 388 w 422"/>
                <a:gd name="T43" fmla="*/ 328 h 3270"/>
                <a:gd name="T44" fmla="*/ 362 w 422"/>
                <a:gd name="T45" fmla="*/ 362 h 3270"/>
                <a:gd name="T46" fmla="*/ 346 w 422"/>
                <a:gd name="T47" fmla="*/ 376 h 3270"/>
                <a:gd name="T48" fmla="*/ 310 w 422"/>
                <a:gd name="T49" fmla="*/ 400 h 3270"/>
                <a:gd name="T50" fmla="*/ 274 w 422"/>
                <a:gd name="T51" fmla="*/ 414 h 3270"/>
                <a:gd name="T52" fmla="*/ 232 w 422"/>
                <a:gd name="T53" fmla="*/ 422 h 3270"/>
                <a:gd name="T54" fmla="*/ 210 w 422"/>
                <a:gd name="T55" fmla="*/ 424 h 3270"/>
                <a:gd name="T56" fmla="*/ 170 w 422"/>
                <a:gd name="T57" fmla="*/ 420 h 3270"/>
                <a:gd name="T58" fmla="*/ 132 w 422"/>
                <a:gd name="T59" fmla="*/ 408 h 3270"/>
                <a:gd name="T60" fmla="*/ 96 w 422"/>
                <a:gd name="T61" fmla="*/ 388 h 3270"/>
                <a:gd name="T62" fmla="*/ 64 w 422"/>
                <a:gd name="T63" fmla="*/ 360 h 3270"/>
                <a:gd name="T64" fmla="*/ 48 w 422"/>
                <a:gd name="T65" fmla="*/ 344 h 3270"/>
                <a:gd name="T66" fmla="*/ 24 w 422"/>
                <a:gd name="T67" fmla="*/ 308 h 3270"/>
                <a:gd name="T68" fmla="*/ 8 w 422"/>
                <a:gd name="T69" fmla="*/ 272 h 3270"/>
                <a:gd name="T70" fmla="*/ 0 w 422"/>
                <a:gd name="T71" fmla="*/ 232 h 3270"/>
                <a:gd name="T72" fmla="*/ 0 w 422"/>
                <a:gd name="T73" fmla="*/ 212 h 3270"/>
                <a:gd name="T74" fmla="*/ 370 w 422"/>
                <a:gd name="T75" fmla="*/ 750 h 3270"/>
                <a:gd name="T76" fmla="*/ 56 w 422"/>
                <a:gd name="T77" fmla="*/ 3112 h 3270"/>
                <a:gd name="T78" fmla="*/ 58 w 422"/>
                <a:gd name="T79" fmla="*/ 3128 h 3270"/>
                <a:gd name="T80" fmla="*/ 62 w 422"/>
                <a:gd name="T81" fmla="*/ 3158 h 3270"/>
                <a:gd name="T82" fmla="*/ 74 w 422"/>
                <a:gd name="T83" fmla="*/ 3186 h 3270"/>
                <a:gd name="T84" fmla="*/ 92 w 422"/>
                <a:gd name="T85" fmla="*/ 3212 h 3270"/>
                <a:gd name="T86" fmla="*/ 102 w 422"/>
                <a:gd name="T87" fmla="*/ 3224 h 3270"/>
                <a:gd name="T88" fmla="*/ 126 w 422"/>
                <a:gd name="T89" fmla="*/ 3244 h 3270"/>
                <a:gd name="T90" fmla="*/ 154 w 422"/>
                <a:gd name="T91" fmla="*/ 3258 h 3270"/>
                <a:gd name="T92" fmla="*/ 182 w 422"/>
                <a:gd name="T93" fmla="*/ 3268 h 3270"/>
                <a:gd name="T94" fmla="*/ 210 w 422"/>
                <a:gd name="T95" fmla="*/ 3270 h 3270"/>
                <a:gd name="T96" fmla="*/ 228 w 422"/>
                <a:gd name="T97" fmla="*/ 3270 h 3270"/>
                <a:gd name="T98" fmla="*/ 258 w 422"/>
                <a:gd name="T99" fmla="*/ 3264 h 3270"/>
                <a:gd name="T100" fmla="*/ 286 w 422"/>
                <a:gd name="T101" fmla="*/ 3252 h 3270"/>
                <a:gd name="T102" fmla="*/ 312 w 422"/>
                <a:gd name="T103" fmla="*/ 3234 h 3270"/>
                <a:gd name="T104" fmla="*/ 324 w 422"/>
                <a:gd name="T105" fmla="*/ 3224 h 3270"/>
                <a:gd name="T106" fmla="*/ 344 w 422"/>
                <a:gd name="T107" fmla="*/ 3200 h 3270"/>
                <a:gd name="T108" fmla="*/ 358 w 422"/>
                <a:gd name="T109" fmla="*/ 3172 h 3270"/>
                <a:gd name="T110" fmla="*/ 366 w 422"/>
                <a:gd name="T111" fmla="*/ 3144 h 3270"/>
                <a:gd name="T112" fmla="*/ 370 w 422"/>
                <a:gd name="T113" fmla="*/ 3112 h 3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2" h="3270">
                  <a:moveTo>
                    <a:pt x="0" y="212"/>
                  </a:moveTo>
                  <a:lnTo>
                    <a:pt x="0" y="212"/>
                  </a:lnTo>
                  <a:lnTo>
                    <a:pt x="0" y="190"/>
                  </a:lnTo>
                  <a:lnTo>
                    <a:pt x="2" y="168"/>
                  </a:lnTo>
                  <a:lnTo>
                    <a:pt x="8" y="148"/>
                  </a:lnTo>
                  <a:lnTo>
                    <a:pt x="14" y="130"/>
                  </a:lnTo>
                  <a:lnTo>
                    <a:pt x="24" y="112"/>
                  </a:lnTo>
                  <a:lnTo>
                    <a:pt x="34" y="94"/>
                  </a:lnTo>
                  <a:lnTo>
                    <a:pt x="46" y="78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76" y="46"/>
                  </a:lnTo>
                  <a:lnTo>
                    <a:pt x="94" y="34"/>
                  </a:lnTo>
                  <a:lnTo>
                    <a:pt x="110" y="24"/>
                  </a:lnTo>
                  <a:lnTo>
                    <a:pt x="130" y="16"/>
                  </a:lnTo>
                  <a:lnTo>
                    <a:pt x="148" y="8"/>
                  </a:lnTo>
                  <a:lnTo>
                    <a:pt x="168" y="4"/>
                  </a:lnTo>
                  <a:lnTo>
                    <a:pt x="190" y="0"/>
                  </a:lnTo>
                  <a:lnTo>
                    <a:pt x="210" y="0"/>
                  </a:lnTo>
                  <a:lnTo>
                    <a:pt x="210" y="0"/>
                  </a:lnTo>
                  <a:lnTo>
                    <a:pt x="232" y="0"/>
                  </a:lnTo>
                  <a:lnTo>
                    <a:pt x="254" y="4"/>
                  </a:lnTo>
                  <a:lnTo>
                    <a:pt x="274" y="8"/>
                  </a:lnTo>
                  <a:lnTo>
                    <a:pt x="292" y="16"/>
                  </a:lnTo>
                  <a:lnTo>
                    <a:pt x="310" y="24"/>
                  </a:lnTo>
                  <a:lnTo>
                    <a:pt x="328" y="34"/>
                  </a:lnTo>
                  <a:lnTo>
                    <a:pt x="346" y="46"/>
                  </a:lnTo>
                  <a:lnTo>
                    <a:pt x="362" y="62"/>
                  </a:lnTo>
                  <a:lnTo>
                    <a:pt x="362" y="62"/>
                  </a:lnTo>
                  <a:lnTo>
                    <a:pt x="376" y="78"/>
                  </a:lnTo>
                  <a:lnTo>
                    <a:pt x="388" y="94"/>
                  </a:lnTo>
                  <a:lnTo>
                    <a:pt x="398" y="112"/>
                  </a:lnTo>
                  <a:lnTo>
                    <a:pt x="408" y="130"/>
                  </a:lnTo>
                  <a:lnTo>
                    <a:pt x="414" y="148"/>
                  </a:lnTo>
                  <a:lnTo>
                    <a:pt x="418" y="168"/>
                  </a:lnTo>
                  <a:lnTo>
                    <a:pt x="422" y="190"/>
                  </a:lnTo>
                  <a:lnTo>
                    <a:pt x="422" y="212"/>
                  </a:lnTo>
                  <a:lnTo>
                    <a:pt x="422" y="212"/>
                  </a:lnTo>
                  <a:lnTo>
                    <a:pt x="422" y="234"/>
                  </a:lnTo>
                  <a:lnTo>
                    <a:pt x="418" y="254"/>
                  </a:lnTo>
                  <a:lnTo>
                    <a:pt x="414" y="274"/>
                  </a:lnTo>
                  <a:lnTo>
                    <a:pt x="408" y="294"/>
                  </a:lnTo>
                  <a:lnTo>
                    <a:pt x="398" y="312"/>
                  </a:lnTo>
                  <a:lnTo>
                    <a:pt x="388" y="328"/>
                  </a:lnTo>
                  <a:lnTo>
                    <a:pt x="376" y="346"/>
                  </a:lnTo>
                  <a:lnTo>
                    <a:pt x="362" y="362"/>
                  </a:lnTo>
                  <a:lnTo>
                    <a:pt x="362" y="362"/>
                  </a:lnTo>
                  <a:lnTo>
                    <a:pt x="346" y="376"/>
                  </a:lnTo>
                  <a:lnTo>
                    <a:pt x="328" y="388"/>
                  </a:lnTo>
                  <a:lnTo>
                    <a:pt x="310" y="400"/>
                  </a:lnTo>
                  <a:lnTo>
                    <a:pt x="292" y="408"/>
                  </a:lnTo>
                  <a:lnTo>
                    <a:pt x="274" y="414"/>
                  </a:lnTo>
                  <a:lnTo>
                    <a:pt x="254" y="420"/>
                  </a:lnTo>
                  <a:lnTo>
                    <a:pt x="232" y="422"/>
                  </a:lnTo>
                  <a:lnTo>
                    <a:pt x="210" y="424"/>
                  </a:lnTo>
                  <a:lnTo>
                    <a:pt x="210" y="424"/>
                  </a:lnTo>
                  <a:lnTo>
                    <a:pt x="190" y="422"/>
                  </a:lnTo>
                  <a:lnTo>
                    <a:pt x="170" y="420"/>
                  </a:lnTo>
                  <a:lnTo>
                    <a:pt x="150" y="414"/>
                  </a:lnTo>
                  <a:lnTo>
                    <a:pt x="132" y="408"/>
                  </a:lnTo>
                  <a:lnTo>
                    <a:pt x="114" y="398"/>
                  </a:lnTo>
                  <a:lnTo>
                    <a:pt x="96" y="388"/>
                  </a:lnTo>
                  <a:lnTo>
                    <a:pt x="80" y="374"/>
                  </a:lnTo>
                  <a:lnTo>
                    <a:pt x="64" y="360"/>
                  </a:lnTo>
                  <a:lnTo>
                    <a:pt x="64" y="360"/>
                  </a:lnTo>
                  <a:lnTo>
                    <a:pt x="48" y="344"/>
                  </a:lnTo>
                  <a:lnTo>
                    <a:pt x="36" y="326"/>
                  </a:lnTo>
                  <a:lnTo>
                    <a:pt x="24" y="308"/>
                  </a:lnTo>
                  <a:lnTo>
                    <a:pt x="16" y="290"/>
                  </a:lnTo>
                  <a:lnTo>
                    <a:pt x="8" y="272"/>
                  </a:lnTo>
                  <a:lnTo>
                    <a:pt x="4" y="252"/>
                  </a:lnTo>
                  <a:lnTo>
                    <a:pt x="0" y="232"/>
                  </a:lnTo>
                  <a:lnTo>
                    <a:pt x="0" y="212"/>
                  </a:lnTo>
                  <a:lnTo>
                    <a:pt x="0" y="212"/>
                  </a:lnTo>
                  <a:close/>
                  <a:moveTo>
                    <a:pt x="370" y="3112"/>
                  </a:moveTo>
                  <a:lnTo>
                    <a:pt x="370" y="750"/>
                  </a:lnTo>
                  <a:lnTo>
                    <a:pt x="56" y="750"/>
                  </a:lnTo>
                  <a:lnTo>
                    <a:pt x="56" y="3112"/>
                  </a:lnTo>
                  <a:lnTo>
                    <a:pt x="56" y="3112"/>
                  </a:lnTo>
                  <a:lnTo>
                    <a:pt x="58" y="3128"/>
                  </a:lnTo>
                  <a:lnTo>
                    <a:pt x="60" y="3144"/>
                  </a:lnTo>
                  <a:lnTo>
                    <a:pt x="62" y="3158"/>
                  </a:lnTo>
                  <a:lnTo>
                    <a:pt x="68" y="3172"/>
                  </a:lnTo>
                  <a:lnTo>
                    <a:pt x="74" y="3186"/>
                  </a:lnTo>
                  <a:lnTo>
                    <a:pt x="82" y="3200"/>
                  </a:lnTo>
                  <a:lnTo>
                    <a:pt x="92" y="3212"/>
                  </a:lnTo>
                  <a:lnTo>
                    <a:pt x="102" y="3224"/>
                  </a:lnTo>
                  <a:lnTo>
                    <a:pt x="102" y="3224"/>
                  </a:lnTo>
                  <a:lnTo>
                    <a:pt x="114" y="3234"/>
                  </a:lnTo>
                  <a:lnTo>
                    <a:pt x="126" y="3244"/>
                  </a:lnTo>
                  <a:lnTo>
                    <a:pt x="140" y="3252"/>
                  </a:lnTo>
                  <a:lnTo>
                    <a:pt x="154" y="3258"/>
                  </a:lnTo>
                  <a:lnTo>
                    <a:pt x="166" y="3264"/>
                  </a:lnTo>
                  <a:lnTo>
                    <a:pt x="182" y="3268"/>
                  </a:lnTo>
                  <a:lnTo>
                    <a:pt x="196" y="3270"/>
                  </a:lnTo>
                  <a:lnTo>
                    <a:pt x="210" y="3270"/>
                  </a:lnTo>
                  <a:lnTo>
                    <a:pt x="210" y="3270"/>
                  </a:lnTo>
                  <a:lnTo>
                    <a:pt x="228" y="3270"/>
                  </a:lnTo>
                  <a:lnTo>
                    <a:pt x="242" y="3268"/>
                  </a:lnTo>
                  <a:lnTo>
                    <a:pt x="258" y="3264"/>
                  </a:lnTo>
                  <a:lnTo>
                    <a:pt x="272" y="3258"/>
                  </a:lnTo>
                  <a:lnTo>
                    <a:pt x="286" y="3252"/>
                  </a:lnTo>
                  <a:lnTo>
                    <a:pt x="300" y="3244"/>
                  </a:lnTo>
                  <a:lnTo>
                    <a:pt x="312" y="3234"/>
                  </a:lnTo>
                  <a:lnTo>
                    <a:pt x="324" y="3224"/>
                  </a:lnTo>
                  <a:lnTo>
                    <a:pt x="324" y="3224"/>
                  </a:lnTo>
                  <a:lnTo>
                    <a:pt x="334" y="3212"/>
                  </a:lnTo>
                  <a:lnTo>
                    <a:pt x="344" y="3200"/>
                  </a:lnTo>
                  <a:lnTo>
                    <a:pt x="352" y="3186"/>
                  </a:lnTo>
                  <a:lnTo>
                    <a:pt x="358" y="3172"/>
                  </a:lnTo>
                  <a:lnTo>
                    <a:pt x="364" y="3158"/>
                  </a:lnTo>
                  <a:lnTo>
                    <a:pt x="366" y="3144"/>
                  </a:lnTo>
                  <a:lnTo>
                    <a:pt x="370" y="3128"/>
                  </a:lnTo>
                  <a:lnTo>
                    <a:pt x="370" y="3112"/>
                  </a:lnTo>
                  <a:lnTo>
                    <a:pt x="370" y="311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74" name="Freeform 11"/>
            <p:cNvSpPr>
              <a:spLocks/>
            </p:cNvSpPr>
            <p:nvPr userDrawn="1"/>
          </p:nvSpPr>
          <p:spPr bwMode="auto">
            <a:xfrm>
              <a:off x="4092258" y="3272725"/>
              <a:ext cx="183621" cy="191185"/>
            </a:xfrm>
            <a:custGeom>
              <a:avLst/>
              <a:gdLst>
                <a:gd name="T0" fmla="*/ 2360 w 2476"/>
                <a:gd name="T1" fmla="*/ 1710 h 2578"/>
                <a:gd name="T2" fmla="*/ 2428 w 2476"/>
                <a:gd name="T3" fmla="*/ 1752 h 2578"/>
                <a:gd name="T4" fmla="*/ 2464 w 2476"/>
                <a:gd name="T5" fmla="*/ 1804 h 2578"/>
                <a:gd name="T6" fmla="*/ 2476 w 2476"/>
                <a:gd name="T7" fmla="*/ 1866 h 2578"/>
                <a:gd name="T8" fmla="*/ 2446 w 2476"/>
                <a:gd name="T9" fmla="*/ 1964 h 2578"/>
                <a:gd name="T10" fmla="*/ 2326 w 2476"/>
                <a:gd name="T11" fmla="*/ 2130 h 2578"/>
                <a:gd name="T12" fmla="*/ 2182 w 2476"/>
                <a:gd name="T13" fmla="*/ 2274 h 2578"/>
                <a:gd name="T14" fmla="*/ 2014 w 2476"/>
                <a:gd name="T15" fmla="*/ 2394 h 2578"/>
                <a:gd name="T16" fmla="*/ 1864 w 2476"/>
                <a:gd name="T17" fmla="*/ 2470 h 2578"/>
                <a:gd name="T18" fmla="*/ 1668 w 2476"/>
                <a:gd name="T19" fmla="*/ 2536 h 2578"/>
                <a:gd name="T20" fmla="*/ 1460 w 2476"/>
                <a:gd name="T21" fmla="*/ 2572 h 2578"/>
                <a:gd name="T22" fmla="*/ 1260 w 2476"/>
                <a:gd name="T23" fmla="*/ 2576 h 2578"/>
                <a:gd name="T24" fmla="*/ 938 w 2476"/>
                <a:gd name="T25" fmla="*/ 2524 h 2578"/>
                <a:gd name="T26" fmla="*/ 648 w 2476"/>
                <a:gd name="T27" fmla="*/ 2400 h 2578"/>
                <a:gd name="T28" fmla="*/ 388 w 2476"/>
                <a:gd name="T29" fmla="*/ 2202 h 2578"/>
                <a:gd name="T30" fmla="*/ 218 w 2476"/>
                <a:gd name="T31" fmla="*/ 2004 h 2578"/>
                <a:gd name="T32" fmla="*/ 74 w 2476"/>
                <a:gd name="T33" fmla="*/ 1728 h 2578"/>
                <a:gd name="T34" fmla="*/ 6 w 2476"/>
                <a:gd name="T35" fmla="*/ 1420 h 2578"/>
                <a:gd name="T36" fmla="*/ 6 w 2476"/>
                <a:gd name="T37" fmla="*/ 1156 h 2578"/>
                <a:gd name="T38" fmla="*/ 74 w 2476"/>
                <a:gd name="T39" fmla="*/ 848 h 2578"/>
                <a:gd name="T40" fmla="*/ 218 w 2476"/>
                <a:gd name="T41" fmla="*/ 572 h 2578"/>
                <a:gd name="T42" fmla="*/ 388 w 2476"/>
                <a:gd name="T43" fmla="*/ 374 h 2578"/>
                <a:gd name="T44" fmla="*/ 648 w 2476"/>
                <a:gd name="T45" fmla="*/ 176 h 2578"/>
                <a:gd name="T46" fmla="*/ 938 w 2476"/>
                <a:gd name="T47" fmla="*/ 52 h 2578"/>
                <a:gd name="T48" fmla="*/ 1260 w 2476"/>
                <a:gd name="T49" fmla="*/ 0 h 2578"/>
                <a:gd name="T50" fmla="*/ 1458 w 2476"/>
                <a:gd name="T51" fmla="*/ 6 h 2578"/>
                <a:gd name="T52" fmla="*/ 1666 w 2476"/>
                <a:gd name="T53" fmla="*/ 40 h 2578"/>
                <a:gd name="T54" fmla="*/ 1862 w 2476"/>
                <a:gd name="T55" fmla="*/ 108 h 2578"/>
                <a:gd name="T56" fmla="*/ 2012 w 2476"/>
                <a:gd name="T57" fmla="*/ 186 h 2578"/>
                <a:gd name="T58" fmla="*/ 2182 w 2476"/>
                <a:gd name="T59" fmla="*/ 306 h 2578"/>
                <a:gd name="T60" fmla="*/ 2326 w 2476"/>
                <a:gd name="T61" fmla="*/ 448 h 2578"/>
                <a:gd name="T62" fmla="*/ 2446 w 2476"/>
                <a:gd name="T63" fmla="*/ 612 h 2578"/>
                <a:gd name="T64" fmla="*/ 2476 w 2476"/>
                <a:gd name="T65" fmla="*/ 710 h 2578"/>
                <a:gd name="T66" fmla="*/ 2464 w 2476"/>
                <a:gd name="T67" fmla="*/ 776 h 2578"/>
                <a:gd name="T68" fmla="*/ 2428 w 2476"/>
                <a:gd name="T69" fmla="*/ 830 h 2578"/>
                <a:gd name="T70" fmla="*/ 2360 w 2476"/>
                <a:gd name="T71" fmla="*/ 870 h 2578"/>
                <a:gd name="T72" fmla="*/ 2290 w 2476"/>
                <a:gd name="T73" fmla="*/ 876 h 2578"/>
                <a:gd name="T74" fmla="*/ 2194 w 2476"/>
                <a:gd name="T75" fmla="*/ 828 h 2578"/>
                <a:gd name="T76" fmla="*/ 2090 w 2476"/>
                <a:gd name="T77" fmla="*/ 676 h 2578"/>
                <a:gd name="T78" fmla="*/ 1856 w 2476"/>
                <a:gd name="T79" fmla="*/ 454 h 2578"/>
                <a:gd name="T80" fmla="*/ 1628 w 2476"/>
                <a:gd name="T81" fmla="*/ 338 h 2578"/>
                <a:gd name="T82" fmla="*/ 1324 w 2476"/>
                <a:gd name="T83" fmla="*/ 286 h 2578"/>
                <a:gd name="T84" fmla="*/ 1120 w 2476"/>
                <a:gd name="T85" fmla="*/ 304 h 2578"/>
                <a:gd name="T86" fmla="*/ 886 w 2476"/>
                <a:gd name="T87" fmla="*/ 378 h 2578"/>
                <a:gd name="T88" fmla="*/ 680 w 2476"/>
                <a:gd name="T89" fmla="*/ 508 h 2578"/>
                <a:gd name="T90" fmla="*/ 536 w 2476"/>
                <a:gd name="T91" fmla="*/ 650 h 2578"/>
                <a:gd name="T92" fmla="*/ 406 w 2476"/>
                <a:gd name="T93" fmla="*/ 854 h 2578"/>
                <a:gd name="T94" fmla="*/ 332 w 2476"/>
                <a:gd name="T95" fmla="*/ 1084 h 2578"/>
                <a:gd name="T96" fmla="*/ 314 w 2476"/>
                <a:gd name="T97" fmla="*/ 1292 h 2578"/>
                <a:gd name="T98" fmla="*/ 332 w 2476"/>
                <a:gd name="T99" fmla="*/ 1494 h 2578"/>
                <a:gd name="T100" fmla="*/ 406 w 2476"/>
                <a:gd name="T101" fmla="*/ 1724 h 2578"/>
                <a:gd name="T102" fmla="*/ 536 w 2476"/>
                <a:gd name="T103" fmla="*/ 1928 h 2578"/>
                <a:gd name="T104" fmla="*/ 680 w 2476"/>
                <a:gd name="T105" fmla="*/ 2072 h 2578"/>
                <a:gd name="T106" fmla="*/ 886 w 2476"/>
                <a:gd name="T107" fmla="*/ 2202 h 2578"/>
                <a:gd name="T108" fmla="*/ 1120 w 2476"/>
                <a:gd name="T109" fmla="*/ 2276 h 2578"/>
                <a:gd name="T110" fmla="*/ 1324 w 2476"/>
                <a:gd name="T111" fmla="*/ 2294 h 2578"/>
                <a:gd name="T112" fmla="*/ 1628 w 2476"/>
                <a:gd name="T113" fmla="*/ 2242 h 2578"/>
                <a:gd name="T114" fmla="*/ 1856 w 2476"/>
                <a:gd name="T115" fmla="*/ 2124 h 2578"/>
                <a:gd name="T116" fmla="*/ 2090 w 2476"/>
                <a:gd name="T117" fmla="*/ 1900 h 2578"/>
                <a:gd name="T118" fmla="*/ 2192 w 2476"/>
                <a:gd name="T119" fmla="*/ 1750 h 2578"/>
                <a:gd name="T120" fmla="*/ 2290 w 2476"/>
                <a:gd name="T121" fmla="*/ 1704 h 2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76" h="2578">
                  <a:moveTo>
                    <a:pt x="2314" y="1704"/>
                  </a:moveTo>
                  <a:lnTo>
                    <a:pt x="2314" y="1704"/>
                  </a:lnTo>
                  <a:lnTo>
                    <a:pt x="2330" y="1704"/>
                  </a:lnTo>
                  <a:lnTo>
                    <a:pt x="2346" y="1706"/>
                  </a:lnTo>
                  <a:lnTo>
                    <a:pt x="2360" y="1710"/>
                  </a:lnTo>
                  <a:lnTo>
                    <a:pt x="2376" y="1716"/>
                  </a:lnTo>
                  <a:lnTo>
                    <a:pt x="2390" y="1722"/>
                  </a:lnTo>
                  <a:lnTo>
                    <a:pt x="2402" y="1730"/>
                  </a:lnTo>
                  <a:lnTo>
                    <a:pt x="2416" y="1740"/>
                  </a:lnTo>
                  <a:lnTo>
                    <a:pt x="2428" y="1752"/>
                  </a:lnTo>
                  <a:lnTo>
                    <a:pt x="2428" y="1752"/>
                  </a:lnTo>
                  <a:lnTo>
                    <a:pt x="2440" y="1764"/>
                  </a:lnTo>
                  <a:lnTo>
                    <a:pt x="2450" y="1778"/>
                  </a:lnTo>
                  <a:lnTo>
                    <a:pt x="2458" y="1790"/>
                  </a:lnTo>
                  <a:lnTo>
                    <a:pt x="2464" y="1804"/>
                  </a:lnTo>
                  <a:lnTo>
                    <a:pt x="2470" y="1820"/>
                  </a:lnTo>
                  <a:lnTo>
                    <a:pt x="2474" y="1834"/>
                  </a:lnTo>
                  <a:lnTo>
                    <a:pt x="2476" y="1850"/>
                  </a:lnTo>
                  <a:lnTo>
                    <a:pt x="2476" y="1866"/>
                  </a:lnTo>
                  <a:lnTo>
                    <a:pt x="2476" y="1866"/>
                  </a:lnTo>
                  <a:lnTo>
                    <a:pt x="2474" y="1890"/>
                  </a:lnTo>
                  <a:lnTo>
                    <a:pt x="2468" y="1916"/>
                  </a:lnTo>
                  <a:lnTo>
                    <a:pt x="2460" y="1940"/>
                  </a:lnTo>
                  <a:lnTo>
                    <a:pt x="2446" y="1964"/>
                  </a:lnTo>
                  <a:lnTo>
                    <a:pt x="2446" y="1964"/>
                  </a:lnTo>
                  <a:lnTo>
                    <a:pt x="2424" y="2000"/>
                  </a:lnTo>
                  <a:lnTo>
                    <a:pt x="2400" y="2034"/>
                  </a:lnTo>
                  <a:lnTo>
                    <a:pt x="2376" y="2066"/>
                  </a:lnTo>
                  <a:lnTo>
                    <a:pt x="2352" y="2100"/>
                  </a:lnTo>
                  <a:lnTo>
                    <a:pt x="2326" y="2130"/>
                  </a:lnTo>
                  <a:lnTo>
                    <a:pt x="2300" y="2162"/>
                  </a:lnTo>
                  <a:lnTo>
                    <a:pt x="2272" y="2192"/>
                  </a:lnTo>
                  <a:lnTo>
                    <a:pt x="2242" y="2220"/>
                  </a:lnTo>
                  <a:lnTo>
                    <a:pt x="2212" y="2248"/>
                  </a:lnTo>
                  <a:lnTo>
                    <a:pt x="2182" y="2274"/>
                  </a:lnTo>
                  <a:lnTo>
                    <a:pt x="2150" y="2300"/>
                  </a:lnTo>
                  <a:lnTo>
                    <a:pt x="2118" y="2324"/>
                  </a:lnTo>
                  <a:lnTo>
                    <a:pt x="2084" y="2348"/>
                  </a:lnTo>
                  <a:lnTo>
                    <a:pt x="2050" y="2372"/>
                  </a:lnTo>
                  <a:lnTo>
                    <a:pt x="2014" y="2394"/>
                  </a:lnTo>
                  <a:lnTo>
                    <a:pt x="1978" y="2414"/>
                  </a:lnTo>
                  <a:lnTo>
                    <a:pt x="1978" y="2414"/>
                  </a:lnTo>
                  <a:lnTo>
                    <a:pt x="1940" y="2434"/>
                  </a:lnTo>
                  <a:lnTo>
                    <a:pt x="1904" y="2452"/>
                  </a:lnTo>
                  <a:lnTo>
                    <a:pt x="1864" y="2470"/>
                  </a:lnTo>
                  <a:lnTo>
                    <a:pt x="1826" y="2486"/>
                  </a:lnTo>
                  <a:lnTo>
                    <a:pt x="1788" y="2500"/>
                  </a:lnTo>
                  <a:lnTo>
                    <a:pt x="1748" y="2514"/>
                  </a:lnTo>
                  <a:lnTo>
                    <a:pt x="1708" y="2526"/>
                  </a:lnTo>
                  <a:lnTo>
                    <a:pt x="1668" y="2536"/>
                  </a:lnTo>
                  <a:lnTo>
                    <a:pt x="1626" y="2546"/>
                  </a:lnTo>
                  <a:lnTo>
                    <a:pt x="1586" y="2554"/>
                  </a:lnTo>
                  <a:lnTo>
                    <a:pt x="1544" y="2562"/>
                  </a:lnTo>
                  <a:lnTo>
                    <a:pt x="1502" y="2568"/>
                  </a:lnTo>
                  <a:lnTo>
                    <a:pt x="1460" y="2572"/>
                  </a:lnTo>
                  <a:lnTo>
                    <a:pt x="1416" y="2574"/>
                  </a:lnTo>
                  <a:lnTo>
                    <a:pt x="1372" y="2576"/>
                  </a:lnTo>
                  <a:lnTo>
                    <a:pt x="1328" y="2578"/>
                  </a:lnTo>
                  <a:lnTo>
                    <a:pt x="1328" y="2578"/>
                  </a:lnTo>
                  <a:lnTo>
                    <a:pt x="1260" y="2576"/>
                  </a:lnTo>
                  <a:lnTo>
                    <a:pt x="1194" y="2572"/>
                  </a:lnTo>
                  <a:lnTo>
                    <a:pt x="1128" y="2564"/>
                  </a:lnTo>
                  <a:lnTo>
                    <a:pt x="1064" y="2554"/>
                  </a:lnTo>
                  <a:lnTo>
                    <a:pt x="1000" y="2540"/>
                  </a:lnTo>
                  <a:lnTo>
                    <a:pt x="938" y="2524"/>
                  </a:lnTo>
                  <a:lnTo>
                    <a:pt x="878" y="2506"/>
                  </a:lnTo>
                  <a:lnTo>
                    <a:pt x="818" y="2484"/>
                  </a:lnTo>
                  <a:lnTo>
                    <a:pt x="760" y="2458"/>
                  </a:lnTo>
                  <a:lnTo>
                    <a:pt x="704" y="2430"/>
                  </a:lnTo>
                  <a:lnTo>
                    <a:pt x="648" y="2400"/>
                  </a:lnTo>
                  <a:lnTo>
                    <a:pt x="594" y="2366"/>
                  </a:lnTo>
                  <a:lnTo>
                    <a:pt x="540" y="2330"/>
                  </a:lnTo>
                  <a:lnTo>
                    <a:pt x="488" y="2290"/>
                  </a:lnTo>
                  <a:lnTo>
                    <a:pt x="438" y="2248"/>
                  </a:lnTo>
                  <a:lnTo>
                    <a:pt x="388" y="2202"/>
                  </a:lnTo>
                  <a:lnTo>
                    <a:pt x="388" y="2202"/>
                  </a:lnTo>
                  <a:lnTo>
                    <a:pt x="342" y="2154"/>
                  </a:lnTo>
                  <a:lnTo>
                    <a:pt x="298" y="2106"/>
                  </a:lnTo>
                  <a:lnTo>
                    <a:pt x="256" y="2056"/>
                  </a:lnTo>
                  <a:lnTo>
                    <a:pt x="218" y="2004"/>
                  </a:lnTo>
                  <a:lnTo>
                    <a:pt x="184" y="1952"/>
                  </a:lnTo>
                  <a:lnTo>
                    <a:pt x="152" y="1898"/>
                  </a:lnTo>
                  <a:lnTo>
                    <a:pt x="124" y="1842"/>
                  </a:lnTo>
                  <a:lnTo>
                    <a:pt x="98" y="1786"/>
                  </a:lnTo>
                  <a:lnTo>
                    <a:pt x="74" y="1728"/>
                  </a:lnTo>
                  <a:lnTo>
                    <a:pt x="54" y="1670"/>
                  </a:lnTo>
                  <a:lnTo>
                    <a:pt x="38" y="1608"/>
                  </a:lnTo>
                  <a:lnTo>
                    <a:pt x="24" y="1548"/>
                  </a:lnTo>
                  <a:lnTo>
                    <a:pt x="14" y="1484"/>
                  </a:lnTo>
                  <a:lnTo>
                    <a:pt x="6" y="1420"/>
                  </a:lnTo>
                  <a:lnTo>
                    <a:pt x="2" y="1354"/>
                  </a:lnTo>
                  <a:lnTo>
                    <a:pt x="0" y="1288"/>
                  </a:lnTo>
                  <a:lnTo>
                    <a:pt x="0" y="1288"/>
                  </a:lnTo>
                  <a:lnTo>
                    <a:pt x="2" y="1222"/>
                  </a:lnTo>
                  <a:lnTo>
                    <a:pt x="6" y="1156"/>
                  </a:lnTo>
                  <a:lnTo>
                    <a:pt x="14" y="1092"/>
                  </a:lnTo>
                  <a:lnTo>
                    <a:pt x="24" y="1030"/>
                  </a:lnTo>
                  <a:lnTo>
                    <a:pt x="38" y="968"/>
                  </a:lnTo>
                  <a:lnTo>
                    <a:pt x="54" y="908"/>
                  </a:lnTo>
                  <a:lnTo>
                    <a:pt x="74" y="848"/>
                  </a:lnTo>
                  <a:lnTo>
                    <a:pt x="98" y="790"/>
                  </a:lnTo>
                  <a:lnTo>
                    <a:pt x="124" y="734"/>
                  </a:lnTo>
                  <a:lnTo>
                    <a:pt x="152" y="678"/>
                  </a:lnTo>
                  <a:lnTo>
                    <a:pt x="184" y="626"/>
                  </a:lnTo>
                  <a:lnTo>
                    <a:pt x="218" y="572"/>
                  </a:lnTo>
                  <a:lnTo>
                    <a:pt x="256" y="522"/>
                  </a:lnTo>
                  <a:lnTo>
                    <a:pt x="298" y="470"/>
                  </a:lnTo>
                  <a:lnTo>
                    <a:pt x="342" y="422"/>
                  </a:lnTo>
                  <a:lnTo>
                    <a:pt x="388" y="374"/>
                  </a:lnTo>
                  <a:lnTo>
                    <a:pt x="388" y="374"/>
                  </a:lnTo>
                  <a:lnTo>
                    <a:pt x="438" y="330"/>
                  </a:lnTo>
                  <a:lnTo>
                    <a:pt x="488" y="286"/>
                  </a:lnTo>
                  <a:lnTo>
                    <a:pt x="540" y="248"/>
                  </a:lnTo>
                  <a:lnTo>
                    <a:pt x="594" y="210"/>
                  </a:lnTo>
                  <a:lnTo>
                    <a:pt x="648" y="176"/>
                  </a:lnTo>
                  <a:lnTo>
                    <a:pt x="704" y="146"/>
                  </a:lnTo>
                  <a:lnTo>
                    <a:pt x="760" y="118"/>
                  </a:lnTo>
                  <a:lnTo>
                    <a:pt x="818" y="94"/>
                  </a:lnTo>
                  <a:lnTo>
                    <a:pt x="878" y="72"/>
                  </a:lnTo>
                  <a:lnTo>
                    <a:pt x="938" y="52"/>
                  </a:lnTo>
                  <a:lnTo>
                    <a:pt x="1000" y="36"/>
                  </a:lnTo>
                  <a:lnTo>
                    <a:pt x="1064" y="22"/>
                  </a:lnTo>
                  <a:lnTo>
                    <a:pt x="1128" y="12"/>
                  </a:lnTo>
                  <a:lnTo>
                    <a:pt x="1194" y="6"/>
                  </a:lnTo>
                  <a:lnTo>
                    <a:pt x="1260" y="0"/>
                  </a:lnTo>
                  <a:lnTo>
                    <a:pt x="1328" y="0"/>
                  </a:lnTo>
                  <a:lnTo>
                    <a:pt x="1328" y="0"/>
                  </a:lnTo>
                  <a:lnTo>
                    <a:pt x="1372" y="0"/>
                  </a:lnTo>
                  <a:lnTo>
                    <a:pt x="1416" y="2"/>
                  </a:lnTo>
                  <a:lnTo>
                    <a:pt x="1458" y="6"/>
                  </a:lnTo>
                  <a:lnTo>
                    <a:pt x="1500" y="10"/>
                  </a:lnTo>
                  <a:lnTo>
                    <a:pt x="1542" y="16"/>
                  </a:lnTo>
                  <a:lnTo>
                    <a:pt x="1584" y="22"/>
                  </a:lnTo>
                  <a:lnTo>
                    <a:pt x="1624" y="32"/>
                  </a:lnTo>
                  <a:lnTo>
                    <a:pt x="1666" y="40"/>
                  </a:lnTo>
                  <a:lnTo>
                    <a:pt x="1706" y="52"/>
                  </a:lnTo>
                  <a:lnTo>
                    <a:pt x="1746" y="64"/>
                  </a:lnTo>
                  <a:lnTo>
                    <a:pt x="1784" y="78"/>
                  </a:lnTo>
                  <a:lnTo>
                    <a:pt x="1824" y="92"/>
                  </a:lnTo>
                  <a:lnTo>
                    <a:pt x="1862" y="108"/>
                  </a:lnTo>
                  <a:lnTo>
                    <a:pt x="1900" y="126"/>
                  </a:lnTo>
                  <a:lnTo>
                    <a:pt x="1938" y="144"/>
                  </a:lnTo>
                  <a:lnTo>
                    <a:pt x="1976" y="164"/>
                  </a:lnTo>
                  <a:lnTo>
                    <a:pt x="1976" y="164"/>
                  </a:lnTo>
                  <a:lnTo>
                    <a:pt x="2012" y="186"/>
                  </a:lnTo>
                  <a:lnTo>
                    <a:pt x="2048" y="208"/>
                  </a:lnTo>
                  <a:lnTo>
                    <a:pt x="2082" y="232"/>
                  </a:lnTo>
                  <a:lnTo>
                    <a:pt x="2116" y="256"/>
                  </a:lnTo>
                  <a:lnTo>
                    <a:pt x="2150" y="280"/>
                  </a:lnTo>
                  <a:lnTo>
                    <a:pt x="2182" y="306"/>
                  </a:lnTo>
                  <a:lnTo>
                    <a:pt x="2212" y="332"/>
                  </a:lnTo>
                  <a:lnTo>
                    <a:pt x="2242" y="360"/>
                  </a:lnTo>
                  <a:lnTo>
                    <a:pt x="2272" y="388"/>
                  </a:lnTo>
                  <a:lnTo>
                    <a:pt x="2298" y="418"/>
                  </a:lnTo>
                  <a:lnTo>
                    <a:pt x="2326" y="448"/>
                  </a:lnTo>
                  <a:lnTo>
                    <a:pt x="2352" y="480"/>
                  </a:lnTo>
                  <a:lnTo>
                    <a:pt x="2376" y="512"/>
                  </a:lnTo>
                  <a:lnTo>
                    <a:pt x="2400" y="544"/>
                  </a:lnTo>
                  <a:lnTo>
                    <a:pt x="2424" y="578"/>
                  </a:lnTo>
                  <a:lnTo>
                    <a:pt x="2446" y="612"/>
                  </a:lnTo>
                  <a:lnTo>
                    <a:pt x="2446" y="612"/>
                  </a:lnTo>
                  <a:lnTo>
                    <a:pt x="2460" y="638"/>
                  </a:lnTo>
                  <a:lnTo>
                    <a:pt x="2468" y="664"/>
                  </a:lnTo>
                  <a:lnTo>
                    <a:pt x="2474" y="688"/>
                  </a:lnTo>
                  <a:lnTo>
                    <a:pt x="2476" y="710"/>
                  </a:lnTo>
                  <a:lnTo>
                    <a:pt x="2476" y="710"/>
                  </a:lnTo>
                  <a:lnTo>
                    <a:pt x="2476" y="728"/>
                  </a:lnTo>
                  <a:lnTo>
                    <a:pt x="2474" y="744"/>
                  </a:lnTo>
                  <a:lnTo>
                    <a:pt x="2470" y="760"/>
                  </a:lnTo>
                  <a:lnTo>
                    <a:pt x="2464" y="776"/>
                  </a:lnTo>
                  <a:lnTo>
                    <a:pt x="2458" y="790"/>
                  </a:lnTo>
                  <a:lnTo>
                    <a:pt x="2450" y="804"/>
                  </a:lnTo>
                  <a:lnTo>
                    <a:pt x="2440" y="816"/>
                  </a:lnTo>
                  <a:lnTo>
                    <a:pt x="2428" y="830"/>
                  </a:lnTo>
                  <a:lnTo>
                    <a:pt x="2428" y="830"/>
                  </a:lnTo>
                  <a:lnTo>
                    <a:pt x="2416" y="840"/>
                  </a:lnTo>
                  <a:lnTo>
                    <a:pt x="2402" y="850"/>
                  </a:lnTo>
                  <a:lnTo>
                    <a:pt x="2390" y="858"/>
                  </a:lnTo>
                  <a:lnTo>
                    <a:pt x="2376" y="866"/>
                  </a:lnTo>
                  <a:lnTo>
                    <a:pt x="2360" y="870"/>
                  </a:lnTo>
                  <a:lnTo>
                    <a:pt x="2346" y="874"/>
                  </a:lnTo>
                  <a:lnTo>
                    <a:pt x="2330" y="878"/>
                  </a:lnTo>
                  <a:lnTo>
                    <a:pt x="2314" y="878"/>
                  </a:lnTo>
                  <a:lnTo>
                    <a:pt x="2314" y="878"/>
                  </a:lnTo>
                  <a:lnTo>
                    <a:pt x="2290" y="876"/>
                  </a:lnTo>
                  <a:lnTo>
                    <a:pt x="2270" y="872"/>
                  </a:lnTo>
                  <a:lnTo>
                    <a:pt x="2248" y="866"/>
                  </a:lnTo>
                  <a:lnTo>
                    <a:pt x="2230" y="856"/>
                  </a:lnTo>
                  <a:lnTo>
                    <a:pt x="2212" y="844"/>
                  </a:lnTo>
                  <a:lnTo>
                    <a:pt x="2194" y="828"/>
                  </a:lnTo>
                  <a:lnTo>
                    <a:pt x="2178" y="810"/>
                  </a:lnTo>
                  <a:lnTo>
                    <a:pt x="2164" y="790"/>
                  </a:lnTo>
                  <a:lnTo>
                    <a:pt x="2164" y="790"/>
                  </a:lnTo>
                  <a:lnTo>
                    <a:pt x="2128" y="732"/>
                  </a:lnTo>
                  <a:lnTo>
                    <a:pt x="2090" y="676"/>
                  </a:lnTo>
                  <a:lnTo>
                    <a:pt x="2048" y="626"/>
                  </a:lnTo>
                  <a:lnTo>
                    <a:pt x="2004" y="578"/>
                  </a:lnTo>
                  <a:lnTo>
                    <a:pt x="1958" y="532"/>
                  </a:lnTo>
                  <a:lnTo>
                    <a:pt x="1908" y="492"/>
                  </a:lnTo>
                  <a:lnTo>
                    <a:pt x="1856" y="454"/>
                  </a:lnTo>
                  <a:lnTo>
                    <a:pt x="1802" y="418"/>
                  </a:lnTo>
                  <a:lnTo>
                    <a:pt x="1802" y="418"/>
                  </a:lnTo>
                  <a:lnTo>
                    <a:pt x="1744" y="388"/>
                  </a:lnTo>
                  <a:lnTo>
                    <a:pt x="1688" y="360"/>
                  </a:lnTo>
                  <a:lnTo>
                    <a:pt x="1628" y="338"/>
                  </a:lnTo>
                  <a:lnTo>
                    <a:pt x="1570" y="320"/>
                  </a:lnTo>
                  <a:lnTo>
                    <a:pt x="1510" y="304"/>
                  </a:lnTo>
                  <a:lnTo>
                    <a:pt x="1448" y="294"/>
                  </a:lnTo>
                  <a:lnTo>
                    <a:pt x="1388" y="288"/>
                  </a:lnTo>
                  <a:lnTo>
                    <a:pt x="1324" y="286"/>
                  </a:lnTo>
                  <a:lnTo>
                    <a:pt x="1324" y="286"/>
                  </a:lnTo>
                  <a:lnTo>
                    <a:pt x="1272" y="288"/>
                  </a:lnTo>
                  <a:lnTo>
                    <a:pt x="1220" y="290"/>
                  </a:lnTo>
                  <a:lnTo>
                    <a:pt x="1168" y="296"/>
                  </a:lnTo>
                  <a:lnTo>
                    <a:pt x="1120" y="304"/>
                  </a:lnTo>
                  <a:lnTo>
                    <a:pt x="1070" y="314"/>
                  </a:lnTo>
                  <a:lnTo>
                    <a:pt x="1022" y="326"/>
                  </a:lnTo>
                  <a:lnTo>
                    <a:pt x="976" y="342"/>
                  </a:lnTo>
                  <a:lnTo>
                    <a:pt x="930" y="358"/>
                  </a:lnTo>
                  <a:lnTo>
                    <a:pt x="886" y="378"/>
                  </a:lnTo>
                  <a:lnTo>
                    <a:pt x="842" y="400"/>
                  </a:lnTo>
                  <a:lnTo>
                    <a:pt x="800" y="422"/>
                  </a:lnTo>
                  <a:lnTo>
                    <a:pt x="760" y="448"/>
                  </a:lnTo>
                  <a:lnTo>
                    <a:pt x="720" y="478"/>
                  </a:lnTo>
                  <a:lnTo>
                    <a:pt x="680" y="508"/>
                  </a:lnTo>
                  <a:lnTo>
                    <a:pt x="642" y="540"/>
                  </a:lnTo>
                  <a:lnTo>
                    <a:pt x="606" y="576"/>
                  </a:lnTo>
                  <a:lnTo>
                    <a:pt x="606" y="576"/>
                  </a:lnTo>
                  <a:lnTo>
                    <a:pt x="570" y="612"/>
                  </a:lnTo>
                  <a:lnTo>
                    <a:pt x="536" y="650"/>
                  </a:lnTo>
                  <a:lnTo>
                    <a:pt x="506" y="688"/>
                  </a:lnTo>
                  <a:lnTo>
                    <a:pt x="478" y="728"/>
                  </a:lnTo>
                  <a:lnTo>
                    <a:pt x="452" y="770"/>
                  </a:lnTo>
                  <a:lnTo>
                    <a:pt x="428" y="812"/>
                  </a:lnTo>
                  <a:lnTo>
                    <a:pt x="406" y="854"/>
                  </a:lnTo>
                  <a:lnTo>
                    <a:pt x="386" y="898"/>
                  </a:lnTo>
                  <a:lnTo>
                    <a:pt x="370" y="944"/>
                  </a:lnTo>
                  <a:lnTo>
                    <a:pt x="354" y="990"/>
                  </a:lnTo>
                  <a:lnTo>
                    <a:pt x="342" y="1036"/>
                  </a:lnTo>
                  <a:lnTo>
                    <a:pt x="332" y="1084"/>
                  </a:lnTo>
                  <a:lnTo>
                    <a:pt x="324" y="1134"/>
                  </a:lnTo>
                  <a:lnTo>
                    <a:pt x="318" y="1184"/>
                  </a:lnTo>
                  <a:lnTo>
                    <a:pt x="314" y="1236"/>
                  </a:lnTo>
                  <a:lnTo>
                    <a:pt x="314" y="1288"/>
                  </a:lnTo>
                  <a:lnTo>
                    <a:pt x="314" y="1292"/>
                  </a:lnTo>
                  <a:lnTo>
                    <a:pt x="314" y="1292"/>
                  </a:lnTo>
                  <a:lnTo>
                    <a:pt x="314" y="1344"/>
                  </a:lnTo>
                  <a:lnTo>
                    <a:pt x="318" y="1396"/>
                  </a:lnTo>
                  <a:lnTo>
                    <a:pt x="324" y="1446"/>
                  </a:lnTo>
                  <a:lnTo>
                    <a:pt x="332" y="1494"/>
                  </a:lnTo>
                  <a:lnTo>
                    <a:pt x="342" y="1542"/>
                  </a:lnTo>
                  <a:lnTo>
                    <a:pt x="354" y="1590"/>
                  </a:lnTo>
                  <a:lnTo>
                    <a:pt x="370" y="1636"/>
                  </a:lnTo>
                  <a:lnTo>
                    <a:pt x="386" y="1680"/>
                  </a:lnTo>
                  <a:lnTo>
                    <a:pt x="406" y="1724"/>
                  </a:lnTo>
                  <a:lnTo>
                    <a:pt x="428" y="1766"/>
                  </a:lnTo>
                  <a:lnTo>
                    <a:pt x="452" y="1808"/>
                  </a:lnTo>
                  <a:lnTo>
                    <a:pt x="478" y="1850"/>
                  </a:lnTo>
                  <a:lnTo>
                    <a:pt x="506" y="1890"/>
                  </a:lnTo>
                  <a:lnTo>
                    <a:pt x="536" y="1928"/>
                  </a:lnTo>
                  <a:lnTo>
                    <a:pt x="570" y="1966"/>
                  </a:lnTo>
                  <a:lnTo>
                    <a:pt x="606" y="2004"/>
                  </a:lnTo>
                  <a:lnTo>
                    <a:pt x="606" y="2004"/>
                  </a:lnTo>
                  <a:lnTo>
                    <a:pt x="642" y="2038"/>
                  </a:lnTo>
                  <a:lnTo>
                    <a:pt x="680" y="2072"/>
                  </a:lnTo>
                  <a:lnTo>
                    <a:pt x="720" y="2102"/>
                  </a:lnTo>
                  <a:lnTo>
                    <a:pt x="760" y="2130"/>
                  </a:lnTo>
                  <a:lnTo>
                    <a:pt x="800" y="2158"/>
                  </a:lnTo>
                  <a:lnTo>
                    <a:pt x="842" y="2180"/>
                  </a:lnTo>
                  <a:lnTo>
                    <a:pt x="886" y="2202"/>
                  </a:lnTo>
                  <a:lnTo>
                    <a:pt x="930" y="2222"/>
                  </a:lnTo>
                  <a:lnTo>
                    <a:pt x="976" y="2238"/>
                  </a:lnTo>
                  <a:lnTo>
                    <a:pt x="1022" y="2254"/>
                  </a:lnTo>
                  <a:lnTo>
                    <a:pt x="1070" y="2266"/>
                  </a:lnTo>
                  <a:lnTo>
                    <a:pt x="1120" y="2276"/>
                  </a:lnTo>
                  <a:lnTo>
                    <a:pt x="1168" y="2284"/>
                  </a:lnTo>
                  <a:lnTo>
                    <a:pt x="1220" y="2290"/>
                  </a:lnTo>
                  <a:lnTo>
                    <a:pt x="1272" y="2294"/>
                  </a:lnTo>
                  <a:lnTo>
                    <a:pt x="1324" y="2294"/>
                  </a:lnTo>
                  <a:lnTo>
                    <a:pt x="1324" y="2294"/>
                  </a:lnTo>
                  <a:lnTo>
                    <a:pt x="1388" y="2292"/>
                  </a:lnTo>
                  <a:lnTo>
                    <a:pt x="1448" y="2286"/>
                  </a:lnTo>
                  <a:lnTo>
                    <a:pt x="1510" y="2276"/>
                  </a:lnTo>
                  <a:lnTo>
                    <a:pt x="1570" y="2262"/>
                  </a:lnTo>
                  <a:lnTo>
                    <a:pt x="1628" y="2242"/>
                  </a:lnTo>
                  <a:lnTo>
                    <a:pt x="1688" y="2220"/>
                  </a:lnTo>
                  <a:lnTo>
                    <a:pt x="1744" y="2192"/>
                  </a:lnTo>
                  <a:lnTo>
                    <a:pt x="1802" y="2160"/>
                  </a:lnTo>
                  <a:lnTo>
                    <a:pt x="1802" y="2160"/>
                  </a:lnTo>
                  <a:lnTo>
                    <a:pt x="1856" y="2124"/>
                  </a:lnTo>
                  <a:lnTo>
                    <a:pt x="1908" y="2086"/>
                  </a:lnTo>
                  <a:lnTo>
                    <a:pt x="1958" y="2044"/>
                  </a:lnTo>
                  <a:lnTo>
                    <a:pt x="2004" y="2000"/>
                  </a:lnTo>
                  <a:lnTo>
                    <a:pt x="2048" y="1952"/>
                  </a:lnTo>
                  <a:lnTo>
                    <a:pt x="2090" y="1900"/>
                  </a:lnTo>
                  <a:lnTo>
                    <a:pt x="2128" y="1846"/>
                  </a:lnTo>
                  <a:lnTo>
                    <a:pt x="2164" y="1788"/>
                  </a:lnTo>
                  <a:lnTo>
                    <a:pt x="2164" y="1788"/>
                  </a:lnTo>
                  <a:lnTo>
                    <a:pt x="2178" y="1768"/>
                  </a:lnTo>
                  <a:lnTo>
                    <a:pt x="2192" y="1750"/>
                  </a:lnTo>
                  <a:lnTo>
                    <a:pt x="2210" y="1736"/>
                  </a:lnTo>
                  <a:lnTo>
                    <a:pt x="2228" y="1724"/>
                  </a:lnTo>
                  <a:lnTo>
                    <a:pt x="2246" y="1716"/>
                  </a:lnTo>
                  <a:lnTo>
                    <a:pt x="2268" y="1708"/>
                  </a:lnTo>
                  <a:lnTo>
                    <a:pt x="2290" y="1704"/>
                  </a:lnTo>
                  <a:lnTo>
                    <a:pt x="2314" y="1704"/>
                  </a:lnTo>
                  <a:lnTo>
                    <a:pt x="2314" y="170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75" name="Freeform 12"/>
            <p:cNvSpPr>
              <a:spLocks noEditPoints="1"/>
            </p:cNvSpPr>
            <p:nvPr userDrawn="1"/>
          </p:nvSpPr>
          <p:spPr bwMode="auto">
            <a:xfrm>
              <a:off x="4291897" y="3271687"/>
              <a:ext cx="190295" cy="191185"/>
            </a:xfrm>
            <a:custGeom>
              <a:avLst/>
              <a:gdLst>
                <a:gd name="T0" fmla="*/ 2552 w 2566"/>
                <a:gd name="T1" fmla="*/ 1490 h 2578"/>
                <a:gd name="T2" fmla="*/ 2470 w 2566"/>
                <a:gd name="T3" fmla="*/ 1782 h 2578"/>
                <a:gd name="T4" fmla="*/ 2314 w 2566"/>
                <a:gd name="T5" fmla="*/ 2048 h 2578"/>
                <a:gd name="T6" fmla="*/ 2136 w 2566"/>
                <a:gd name="T7" fmla="*/ 2242 h 2578"/>
                <a:gd name="T8" fmla="*/ 1878 w 2566"/>
                <a:gd name="T9" fmla="*/ 2428 h 2578"/>
                <a:gd name="T10" fmla="*/ 1598 w 2566"/>
                <a:gd name="T11" fmla="*/ 2540 h 2578"/>
                <a:gd name="T12" fmla="*/ 1290 w 2566"/>
                <a:gd name="T13" fmla="*/ 2578 h 2578"/>
                <a:gd name="T14" fmla="*/ 1034 w 2566"/>
                <a:gd name="T15" fmla="*/ 2554 h 2578"/>
                <a:gd name="T16" fmla="*/ 742 w 2566"/>
                <a:gd name="T17" fmla="*/ 2460 h 2578"/>
                <a:gd name="T18" fmla="*/ 478 w 2566"/>
                <a:gd name="T19" fmla="*/ 2290 h 2578"/>
                <a:gd name="T20" fmla="*/ 292 w 2566"/>
                <a:gd name="T21" fmla="*/ 2106 h 2578"/>
                <a:gd name="T22" fmla="*/ 120 w 2566"/>
                <a:gd name="T23" fmla="*/ 1846 h 2578"/>
                <a:gd name="T24" fmla="*/ 24 w 2566"/>
                <a:gd name="T25" fmla="*/ 1558 h 2578"/>
                <a:gd name="T26" fmla="*/ 0 w 2566"/>
                <a:gd name="T27" fmla="*/ 1306 h 2578"/>
                <a:gd name="T28" fmla="*/ 38 w 2566"/>
                <a:gd name="T29" fmla="*/ 984 h 2578"/>
                <a:gd name="T30" fmla="*/ 148 w 2566"/>
                <a:gd name="T31" fmla="*/ 692 h 2578"/>
                <a:gd name="T32" fmla="*/ 330 w 2566"/>
                <a:gd name="T33" fmla="*/ 430 h 2578"/>
                <a:gd name="T34" fmla="*/ 522 w 2566"/>
                <a:gd name="T35" fmla="*/ 252 h 2578"/>
                <a:gd name="T36" fmla="*/ 792 w 2566"/>
                <a:gd name="T37" fmla="*/ 96 h 2578"/>
                <a:gd name="T38" fmla="*/ 1094 w 2566"/>
                <a:gd name="T39" fmla="*/ 14 h 2578"/>
                <a:gd name="T40" fmla="*/ 1354 w 2566"/>
                <a:gd name="T41" fmla="*/ 2 h 2578"/>
                <a:gd name="T42" fmla="*/ 1662 w 2566"/>
                <a:gd name="T43" fmla="*/ 54 h 2578"/>
                <a:gd name="T44" fmla="*/ 1942 w 2566"/>
                <a:gd name="T45" fmla="*/ 182 h 2578"/>
                <a:gd name="T46" fmla="*/ 2190 w 2566"/>
                <a:gd name="T47" fmla="*/ 384 h 2578"/>
                <a:gd name="T48" fmla="*/ 2354 w 2566"/>
                <a:gd name="T49" fmla="*/ 586 h 2578"/>
                <a:gd name="T50" fmla="*/ 2494 w 2566"/>
                <a:gd name="T51" fmla="*/ 864 h 2578"/>
                <a:gd name="T52" fmla="*/ 2560 w 2566"/>
                <a:gd name="T53" fmla="*/ 1172 h 2578"/>
                <a:gd name="T54" fmla="*/ 314 w 2566"/>
                <a:gd name="T55" fmla="*/ 1302 h 2578"/>
                <a:gd name="T56" fmla="*/ 342 w 2566"/>
                <a:gd name="T57" fmla="*/ 1548 h 2578"/>
                <a:gd name="T58" fmla="*/ 426 w 2566"/>
                <a:gd name="T59" fmla="*/ 1768 h 2578"/>
                <a:gd name="T60" fmla="*/ 566 w 2566"/>
                <a:gd name="T61" fmla="*/ 1968 h 2578"/>
                <a:gd name="T62" fmla="*/ 712 w 2566"/>
                <a:gd name="T63" fmla="*/ 2104 h 2578"/>
                <a:gd name="T64" fmla="*/ 916 w 2566"/>
                <a:gd name="T65" fmla="*/ 2222 h 2578"/>
                <a:gd name="T66" fmla="*/ 1144 w 2566"/>
                <a:gd name="T67" fmla="*/ 2286 h 2578"/>
                <a:gd name="T68" fmla="*/ 1340 w 2566"/>
                <a:gd name="T69" fmla="*/ 2294 h 2578"/>
                <a:gd name="T70" fmla="*/ 1574 w 2566"/>
                <a:gd name="T71" fmla="*/ 2254 h 2578"/>
                <a:gd name="T72" fmla="*/ 1784 w 2566"/>
                <a:gd name="T73" fmla="*/ 2156 h 2578"/>
                <a:gd name="T74" fmla="*/ 1972 w 2566"/>
                <a:gd name="T75" fmla="*/ 2000 h 2578"/>
                <a:gd name="T76" fmla="*/ 2094 w 2566"/>
                <a:gd name="T77" fmla="*/ 1844 h 2578"/>
                <a:gd name="T78" fmla="*/ 2198 w 2566"/>
                <a:gd name="T79" fmla="*/ 1626 h 2578"/>
                <a:gd name="T80" fmla="*/ 2248 w 2566"/>
                <a:gd name="T81" fmla="*/ 1380 h 2578"/>
                <a:gd name="T82" fmla="*/ 2248 w 2566"/>
                <a:gd name="T83" fmla="*/ 1176 h 2578"/>
                <a:gd name="T84" fmla="*/ 2198 w 2566"/>
                <a:gd name="T85" fmla="*/ 942 h 2578"/>
                <a:gd name="T86" fmla="*/ 2092 w 2566"/>
                <a:gd name="T87" fmla="*/ 732 h 2578"/>
                <a:gd name="T88" fmla="*/ 1968 w 2566"/>
                <a:gd name="T89" fmla="*/ 578 h 2578"/>
                <a:gd name="T90" fmla="*/ 1778 w 2566"/>
                <a:gd name="T91" fmla="*/ 424 h 2578"/>
                <a:gd name="T92" fmla="*/ 1570 w 2566"/>
                <a:gd name="T93" fmla="*/ 328 h 2578"/>
                <a:gd name="T94" fmla="*/ 1338 w 2566"/>
                <a:gd name="T95" fmla="*/ 288 h 2578"/>
                <a:gd name="T96" fmla="*/ 1142 w 2566"/>
                <a:gd name="T97" fmla="*/ 298 h 2578"/>
                <a:gd name="T98" fmla="*/ 914 w 2566"/>
                <a:gd name="T99" fmla="*/ 362 h 2578"/>
                <a:gd name="T100" fmla="*/ 710 w 2566"/>
                <a:gd name="T101" fmla="*/ 482 h 2578"/>
                <a:gd name="T102" fmla="*/ 564 w 2566"/>
                <a:gd name="T103" fmla="*/ 620 h 2578"/>
                <a:gd name="T104" fmla="*/ 426 w 2566"/>
                <a:gd name="T105" fmla="*/ 822 h 2578"/>
                <a:gd name="T106" fmla="*/ 342 w 2566"/>
                <a:gd name="T107" fmla="*/ 1050 h 2578"/>
                <a:gd name="T108" fmla="*/ 314 w 2566"/>
                <a:gd name="T109" fmla="*/ 1302 h 2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66" h="2578">
                  <a:moveTo>
                    <a:pt x="2566" y="1302"/>
                  </a:moveTo>
                  <a:lnTo>
                    <a:pt x="2566" y="1302"/>
                  </a:lnTo>
                  <a:lnTo>
                    <a:pt x="2564" y="1366"/>
                  </a:lnTo>
                  <a:lnTo>
                    <a:pt x="2560" y="1428"/>
                  </a:lnTo>
                  <a:lnTo>
                    <a:pt x="2552" y="1490"/>
                  </a:lnTo>
                  <a:lnTo>
                    <a:pt x="2542" y="1550"/>
                  </a:lnTo>
                  <a:lnTo>
                    <a:pt x="2528" y="1610"/>
                  </a:lnTo>
                  <a:lnTo>
                    <a:pt x="2512" y="1668"/>
                  </a:lnTo>
                  <a:lnTo>
                    <a:pt x="2492" y="1726"/>
                  </a:lnTo>
                  <a:lnTo>
                    <a:pt x="2470" y="1782"/>
                  </a:lnTo>
                  <a:lnTo>
                    <a:pt x="2444" y="1838"/>
                  </a:lnTo>
                  <a:lnTo>
                    <a:pt x="2416" y="1892"/>
                  </a:lnTo>
                  <a:lnTo>
                    <a:pt x="2384" y="1944"/>
                  </a:lnTo>
                  <a:lnTo>
                    <a:pt x="2350" y="1998"/>
                  </a:lnTo>
                  <a:lnTo>
                    <a:pt x="2314" y="2048"/>
                  </a:lnTo>
                  <a:lnTo>
                    <a:pt x="2274" y="2098"/>
                  </a:lnTo>
                  <a:lnTo>
                    <a:pt x="2230" y="2148"/>
                  </a:lnTo>
                  <a:lnTo>
                    <a:pt x="2184" y="2196"/>
                  </a:lnTo>
                  <a:lnTo>
                    <a:pt x="2184" y="2196"/>
                  </a:lnTo>
                  <a:lnTo>
                    <a:pt x="2136" y="2242"/>
                  </a:lnTo>
                  <a:lnTo>
                    <a:pt x="2086" y="2286"/>
                  </a:lnTo>
                  <a:lnTo>
                    <a:pt x="2036" y="2326"/>
                  </a:lnTo>
                  <a:lnTo>
                    <a:pt x="1984" y="2364"/>
                  </a:lnTo>
                  <a:lnTo>
                    <a:pt x="1932" y="2398"/>
                  </a:lnTo>
                  <a:lnTo>
                    <a:pt x="1878" y="2428"/>
                  </a:lnTo>
                  <a:lnTo>
                    <a:pt x="1824" y="2458"/>
                  </a:lnTo>
                  <a:lnTo>
                    <a:pt x="1770" y="2482"/>
                  </a:lnTo>
                  <a:lnTo>
                    <a:pt x="1712" y="2504"/>
                  </a:lnTo>
                  <a:lnTo>
                    <a:pt x="1656" y="2524"/>
                  </a:lnTo>
                  <a:lnTo>
                    <a:pt x="1598" y="2540"/>
                  </a:lnTo>
                  <a:lnTo>
                    <a:pt x="1538" y="2554"/>
                  </a:lnTo>
                  <a:lnTo>
                    <a:pt x="1478" y="2564"/>
                  </a:lnTo>
                  <a:lnTo>
                    <a:pt x="1416" y="2572"/>
                  </a:lnTo>
                  <a:lnTo>
                    <a:pt x="1354" y="2576"/>
                  </a:lnTo>
                  <a:lnTo>
                    <a:pt x="1290" y="2578"/>
                  </a:lnTo>
                  <a:lnTo>
                    <a:pt x="1290" y="2578"/>
                  </a:lnTo>
                  <a:lnTo>
                    <a:pt x="1224" y="2576"/>
                  </a:lnTo>
                  <a:lnTo>
                    <a:pt x="1160" y="2572"/>
                  </a:lnTo>
                  <a:lnTo>
                    <a:pt x="1096" y="2564"/>
                  </a:lnTo>
                  <a:lnTo>
                    <a:pt x="1034" y="2554"/>
                  </a:lnTo>
                  <a:lnTo>
                    <a:pt x="974" y="2542"/>
                  </a:lnTo>
                  <a:lnTo>
                    <a:pt x="914" y="2526"/>
                  </a:lnTo>
                  <a:lnTo>
                    <a:pt x="856" y="2506"/>
                  </a:lnTo>
                  <a:lnTo>
                    <a:pt x="798" y="2484"/>
                  </a:lnTo>
                  <a:lnTo>
                    <a:pt x="742" y="2460"/>
                  </a:lnTo>
                  <a:lnTo>
                    <a:pt x="686" y="2432"/>
                  </a:lnTo>
                  <a:lnTo>
                    <a:pt x="632" y="2400"/>
                  </a:lnTo>
                  <a:lnTo>
                    <a:pt x="580" y="2366"/>
                  </a:lnTo>
                  <a:lnTo>
                    <a:pt x="528" y="2330"/>
                  </a:lnTo>
                  <a:lnTo>
                    <a:pt x="478" y="2290"/>
                  </a:lnTo>
                  <a:lnTo>
                    <a:pt x="428" y="2248"/>
                  </a:lnTo>
                  <a:lnTo>
                    <a:pt x="380" y="2202"/>
                  </a:lnTo>
                  <a:lnTo>
                    <a:pt x="380" y="2202"/>
                  </a:lnTo>
                  <a:lnTo>
                    <a:pt x="334" y="2156"/>
                  </a:lnTo>
                  <a:lnTo>
                    <a:pt x="292" y="2106"/>
                  </a:lnTo>
                  <a:lnTo>
                    <a:pt x="252" y="2056"/>
                  </a:lnTo>
                  <a:lnTo>
                    <a:pt x="214" y="2006"/>
                  </a:lnTo>
                  <a:lnTo>
                    <a:pt x="180" y="1954"/>
                  </a:lnTo>
                  <a:lnTo>
                    <a:pt x="150" y="1900"/>
                  </a:lnTo>
                  <a:lnTo>
                    <a:pt x="120" y="1846"/>
                  </a:lnTo>
                  <a:lnTo>
                    <a:pt x="96" y="1792"/>
                  </a:lnTo>
                  <a:lnTo>
                    <a:pt x="74" y="1734"/>
                  </a:lnTo>
                  <a:lnTo>
                    <a:pt x="54" y="1676"/>
                  </a:lnTo>
                  <a:lnTo>
                    <a:pt x="38" y="1618"/>
                  </a:lnTo>
                  <a:lnTo>
                    <a:pt x="24" y="1558"/>
                  </a:lnTo>
                  <a:lnTo>
                    <a:pt x="14" y="1496"/>
                  </a:lnTo>
                  <a:lnTo>
                    <a:pt x="6" y="1434"/>
                  </a:lnTo>
                  <a:lnTo>
                    <a:pt x="2" y="1372"/>
                  </a:lnTo>
                  <a:lnTo>
                    <a:pt x="0" y="1306"/>
                  </a:lnTo>
                  <a:lnTo>
                    <a:pt x="0" y="1306"/>
                  </a:lnTo>
                  <a:lnTo>
                    <a:pt x="2" y="1240"/>
                  </a:lnTo>
                  <a:lnTo>
                    <a:pt x="6" y="1174"/>
                  </a:lnTo>
                  <a:lnTo>
                    <a:pt x="14" y="1108"/>
                  </a:lnTo>
                  <a:lnTo>
                    <a:pt x="24" y="1046"/>
                  </a:lnTo>
                  <a:lnTo>
                    <a:pt x="38" y="984"/>
                  </a:lnTo>
                  <a:lnTo>
                    <a:pt x="54" y="922"/>
                  </a:lnTo>
                  <a:lnTo>
                    <a:pt x="72" y="862"/>
                  </a:lnTo>
                  <a:lnTo>
                    <a:pt x="94" y="804"/>
                  </a:lnTo>
                  <a:lnTo>
                    <a:pt x="120" y="746"/>
                  </a:lnTo>
                  <a:lnTo>
                    <a:pt x="148" y="692"/>
                  </a:lnTo>
                  <a:lnTo>
                    <a:pt x="178" y="636"/>
                  </a:lnTo>
                  <a:lnTo>
                    <a:pt x="212" y="582"/>
                  </a:lnTo>
                  <a:lnTo>
                    <a:pt x="248" y="530"/>
                  </a:lnTo>
                  <a:lnTo>
                    <a:pt x="288" y="480"/>
                  </a:lnTo>
                  <a:lnTo>
                    <a:pt x="330" y="430"/>
                  </a:lnTo>
                  <a:lnTo>
                    <a:pt x="376" y="382"/>
                  </a:lnTo>
                  <a:lnTo>
                    <a:pt x="376" y="382"/>
                  </a:lnTo>
                  <a:lnTo>
                    <a:pt x="424" y="336"/>
                  </a:lnTo>
                  <a:lnTo>
                    <a:pt x="472" y="292"/>
                  </a:lnTo>
                  <a:lnTo>
                    <a:pt x="522" y="252"/>
                  </a:lnTo>
                  <a:lnTo>
                    <a:pt x="574" y="214"/>
                  </a:lnTo>
                  <a:lnTo>
                    <a:pt x="626" y="180"/>
                  </a:lnTo>
                  <a:lnTo>
                    <a:pt x="680" y="150"/>
                  </a:lnTo>
                  <a:lnTo>
                    <a:pt x="736" y="120"/>
                  </a:lnTo>
                  <a:lnTo>
                    <a:pt x="792" y="96"/>
                  </a:lnTo>
                  <a:lnTo>
                    <a:pt x="850" y="74"/>
                  </a:lnTo>
                  <a:lnTo>
                    <a:pt x="908" y="54"/>
                  </a:lnTo>
                  <a:lnTo>
                    <a:pt x="970" y="38"/>
                  </a:lnTo>
                  <a:lnTo>
                    <a:pt x="1030" y="24"/>
                  </a:lnTo>
                  <a:lnTo>
                    <a:pt x="1094" y="14"/>
                  </a:lnTo>
                  <a:lnTo>
                    <a:pt x="1158" y="6"/>
                  </a:lnTo>
                  <a:lnTo>
                    <a:pt x="1224" y="2"/>
                  </a:lnTo>
                  <a:lnTo>
                    <a:pt x="1290" y="0"/>
                  </a:lnTo>
                  <a:lnTo>
                    <a:pt x="1290" y="0"/>
                  </a:lnTo>
                  <a:lnTo>
                    <a:pt x="1354" y="2"/>
                  </a:lnTo>
                  <a:lnTo>
                    <a:pt x="1418" y="6"/>
                  </a:lnTo>
                  <a:lnTo>
                    <a:pt x="1482" y="14"/>
                  </a:lnTo>
                  <a:lnTo>
                    <a:pt x="1544" y="24"/>
                  </a:lnTo>
                  <a:lnTo>
                    <a:pt x="1604" y="38"/>
                  </a:lnTo>
                  <a:lnTo>
                    <a:pt x="1662" y="54"/>
                  </a:lnTo>
                  <a:lnTo>
                    <a:pt x="1720" y="74"/>
                  </a:lnTo>
                  <a:lnTo>
                    <a:pt x="1778" y="96"/>
                  </a:lnTo>
                  <a:lnTo>
                    <a:pt x="1834" y="122"/>
                  </a:lnTo>
                  <a:lnTo>
                    <a:pt x="1888" y="150"/>
                  </a:lnTo>
                  <a:lnTo>
                    <a:pt x="1942" y="182"/>
                  </a:lnTo>
                  <a:lnTo>
                    <a:pt x="1994" y="216"/>
                  </a:lnTo>
                  <a:lnTo>
                    <a:pt x="2044" y="254"/>
                  </a:lnTo>
                  <a:lnTo>
                    <a:pt x="2094" y="294"/>
                  </a:lnTo>
                  <a:lnTo>
                    <a:pt x="2142" y="338"/>
                  </a:lnTo>
                  <a:lnTo>
                    <a:pt x="2190" y="384"/>
                  </a:lnTo>
                  <a:lnTo>
                    <a:pt x="2190" y="384"/>
                  </a:lnTo>
                  <a:lnTo>
                    <a:pt x="2236" y="432"/>
                  </a:lnTo>
                  <a:lnTo>
                    <a:pt x="2278" y="482"/>
                  </a:lnTo>
                  <a:lnTo>
                    <a:pt x="2318" y="534"/>
                  </a:lnTo>
                  <a:lnTo>
                    <a:pt x="2354" y="586"/>
                  </a:lnTo>
                  <a:lnTo>
                    <a:pt x="2388" y="638"/>
                  </a:lnTo>
                  <a:lnTo>
                    <a:pt x="2418" y="694"/>
                  </a:lnTo>
                  <a:lnTo>
                    <a:pt x="2446" y="748"/>
                  </a:lnTo>
                  <a:lnTo>
                    <a:pt x="2472" y="806"/>
                  </a:lnTo>
                  <a:lnTo>
                    <a:pt x="2494" y="864"/>
                  </a:lnTo>
                  <a:lnTo>
                    <a:pt x="2512" y="922"/>
                  </a:lnTo>
                  <a:lnTo>
                    <a:pt x="2528" y="984"/>
                  </a:lnTo>
                  <a:lnTo>
                    <a:pt x="2542" y="1044"/>
                  </a:lnTo>
                  <a:lnTo>
                    <a:pt x="2552" y="1108"/>
                  </a:lnTo>
                  <a:lnTo>
                    <a:pt x="2560" y="1172"/>
                  </a:lnTo>
                  <a:lnTo>
                    <a:pt x="2564" y="1236"/>
                  </a:lnTo>
                  <a:lnTo>
                    <a:pt x="2566" y="1302"/>
                  </a:lnTo>
                  <a:lnTo>
                    <a:pt x="2566" y="1302"/>
                  </a:lnTo>
                  <a:close/>
                  <a:moveTo>
                    <a:pt x="314" y="1302"/>
                  </a:moveTo>
                  <a:lnTo>
                    <a:pt x="314" y="1302"/>
                  </a:lnTo>
                  <a:lnTo>
                    <a:pt x="316" y="1354"/>
                  </a:lnTo>
                  <a:lnTo>
                    <a:pt x="318" y="1404"/>
                  </a:lnTo>
                  <a:lnTo>
                    <a:pt x="324" y="1452"/>
                  </a:lnTo>
                  <a:lnTo>
                    <a:pt x="332" y="1500"/>
                  </a:lnTo>
                  <a:lnTo>
                    <a:pt x="342" y="1548"/>
                  </a:lnTo>
                  <a:lnTo>
                    <a:pt x="354" y="1594"/>
                  </a:lnTo>
                  <a:lnTo>
                    <a:pt x="370" y="1638"/>
                  </a:lnTo>
                  <a:lnTo>
                    <a:pt x="386" y="1684"/>
                  </a:lnTo>
                  <a:lnTo>
                    <a:pt x="406" y="1726"/>
                  </a:lnTo>
                  <a:lnTo>
                    <a:pt x="426" y="1768"/>
                  </a:lnTo>
                  <a:lnTo>
                    <a:pt x="450" y="1810"/>
                  </a:lnTo>
                  <a:lnTo>
                    <a:pt x="476" y="1852"/>
                  </a:lnTo>
                  <a:lnTo>
                    <a:pt x="504" y="1890"/>
                  </a:lnTo>
                  <a:lnTo>
                    <a:pt x="534" y="1930"/>
                  </a:lnTo>
                  <a:lnTo>
                    <a:pt x="566" y="1968"/>
                  </a:lnTo>
                  <a:lnTo>
                    <a:pt x="602" y="2004"/>
                  </a:lnTo>
                  <a:lnTo>
                    <a:pt x="602" y="2004"/>
                  </a:lnTo>
                  <a:lnTo>
                    <a:pt x="638" y="2040"/>
                  </a:lnTo>
                  <a:lnTo>
                    <a:pt x="674" y="2072"/>
                  </a:lnTo>
                  <a:lnTo>
                    <a:pt x="712" y="2104"/>
                  </a:lnTo>
                  <a:lnTo>
                    <a:pt x="752" y="2132"/>
                  </a:lnTo>
                  <a:lnTo>
                    <a:pt x="792" y="2158"/>
                  </a:lnTo>
                  <a:lnTo>
                    <a:pt x="832" y="2182"/>
                  </a:lnTo>
                  <a:lnTo>
                    <a:pt x="874" y="2204"/>
                  </a:lnTo>
                  <a:lnTo>
                    <a:pt x="916" y="2222"/>
                  </a:lnTo>
                  <a:lnTo>
                    <a:pt x="960" y="2240"/>
                  </a:lnTo>
                  <a:lnTo>
                    <a:pt x="1004" y="2254"/>
                  </a:lnTo>
                  <a:lnTo>
                    <a:pt x="1050" y="2268"/>
                  </a:lnTo>
                  <a:lnTo>
                    <a:pt x="1096" y="2278"/>
                  </a:lnTo>
                  <a:lnTo>
                    <a:pt x="1144" y="2286"/>
                  </a:lnTo>
                  <a:lnTo>
                    <a:pt x="1192" y="2290"/>
                  </a:lnTo>
                  <a:lnTo>
                    <a:pt x="1240" y="2294"/>
                  </a:lnTo>
                  <a:lnTo>
                    <a:pt x="1290" y="2296"/>
                  </a:lnTo>
                  <a:lnTo>
                    <a:pt x="1290" y="2296"/>
                  </a:lnTo>
                  <a:lnTo>
                    <a:pt x="1340" y="2294"/>
                  </a:lnTo>
                  <a:lnTo>
                    <a:pt x="1388" y="2290"/>
                  </a:lnTo>
                  <a:lnTo>
                    <a:pt x="1436" y="2286"/>
                  </a:lnTo>
                  <a:lnTo>
                    <a:pt x="1484" y="2278"/>
                  </a:lnTo>
                  <a:lnTo>
                    <a:pt x="1528" y="2266"/>
                  </a:lnTo>
                  <a:lnTo>
                    <a:pt x="1574" y="2254"/>
                  </a:lnTo>
                  <a:lnTo>
                    <a:pt x="1618" y="2238"/>
                  </a:lnTo>
                  <a:lnTo>
                    <a:pt x="1662" y="2222"/>
                  </a:lnTo>
                  <a:lnTo>
                    <a:pt x="1704" y="2202"/>
                  </a:lnTo>
                  <a:lnTo>
                    <a:pt x="1744" y="2180"/>
                  </a:lnTo>
                  <a:lnTo>
                    <a:pt x="1784" y="2156"/>
                  </a:lnTo>
                  <a:lnTo>
                    <a:pt x="1824" y="2130"/>
                  </a:lnTo>
                  <a:lnTo>
                    <a:pt x="1862" y="2100"/>
                  </a:lnTo>
                  <a:lnTo>
                    <a:pt x="1900" y="2070"/>
                  </a:lnTo>
                  <a:lnTo>
                    <a:pt x="1936" y="2036"/>
                  </a:lnTo>
                  <a:lnTo>
                    <a:pt x="1972" y="2000"/>
                  </a:lnTo>
                  <a:lnTo>
                    <a:pt x="1972" y="2000"/>
                  </a:lnTo>
                  <a:lnTo>
                    <a:pt x="2006" y="1962"/>
                  </a:lnTo>
                  <a:lnTo>
                    <a:pt x="2038" y="1924"/>
                  </a:lnTo>
                  <a:lnTo>
                    <a:pt x="2068" y="1884"/>
                  </a:lnTo>
                  <a:lnTo>
                    <a:pt x="2094" y="1844"/>
                  </a:lnTo>
                  <a:lnTo>
                    <a:pt x="2120" y="1802"/>
                  </a:lnTo>
                  <a:lnTo>
                    <a:pt x="2142" y="1760"/>
                  </a:lnTo>
                  <a:lnTo>
                    <a:pt x="2164" y="1716"/>
                  </a:lnTo>
                  <a:lnTo>
                    <a:pt x="2182" y="1670"/>
                  </a:lnTo>
                  <a:lnTo>
                    <a:pt x="2198" y="1626"/>
                  </a:lnTo>
                  <a:lnTo>
                    <a:pt x="2212" y="1578"/>
                  </a:lnTo>
                  <a:lnTo>
                    <a:pt x="2224" y="1530"/>
                  </a:lnTo>
                  <a:lnTo>
                    <a:pt x="2234" y="1482"/>
                  </a:lnTo>
                  <a:lnTo>
                    <a:pt x="2242" y="1432"/>
                  </a:lnTo>
                  <a:lnTo>
                    <a:pt x="2248" y="1380"/>
                  </a:lnTo>
                  <a:lnTo>
                    <a:pt x="2250" y="1328"/>
                  </a:lnTo>
                  <a:lnTo>
                    <a:pt x="2252" y="1276"/>
                  </a:lnTo>
                  <a:lnTo>
                    <a:pt x="2252" y="1276"/>
                  </a:lnTo>
                  <a:lnTo>
                    <a:pt x="2250" y="1226"/>
                  </a:lnTo>
                  <a:lnTo>
                    <a:pt x="2248" y="1176"/>
                  </a:lnTo>
                  <a:lnTo>
                    <a:pt x="2242" y="1128"/>
                  </a:lnTo>
                  <a:lnTo>
                    <a:pt x="2234" y="1080"/>
                  </a:lnTo>
                  <a:lnTo>
                    <a:pt x="2224" y="1034"/>
                  </a:lnTo>
                  <a:lnTo>
                    <a:pt x="2212" y="988"/>
                  </a:lnTo>
                  <a:lnTo>
                    <a:pt x="2198" y="942"/>
                  </a:lnTo>
                  <a:lnTo>
                    <a:pt x="2180" y="898"/>
                  </a:lnTo>
                  <a:lnTo>
                    <a:pt x="2162" y="856"/>
                  </a:lnTo>
                  <a:lnTo>
                    <a:pt x="2140" y="814"/>
                  </a:lnTo>
                  <a:lnTo>
                    <a:pt x="2118" y="772"/>
                  </a:lnTo>
                  <a:lnTo>
                    <a:pt x="2092" y="732"/>
                  </a:lnTo>
                  <a:lnTo>
                    <a:pt x="2064" y="692"/>
                  </a:lnTo>
                  <a:lnTo>
                    <a:pt x="2034" y="654"/>
                  </a:lnTo>
                  <a:lnTo>
                    <a:pt x="2002" y="616"/>
                  </a:lnTo>
                  <a:lnTo>
                    <a:pt x="1968" y="578"/>
                  </a:lnTo>
                  <a:lnTo>
                    <a:pt x="1968" y="578"/>
                  </a:lnTo>
                  <a:lnTo>
                    <a:pt x="1932" y="544"/>
                  </a:lnTo>
                  <a:lnTo>
                    <a:pt x="1894" y="510"/>
                  </a:lnTo>
                  <a:lnTo>
                    <a:pt x="1856" y="480"/>
                  </a:lnTo>
                  <a:lnTo>
                    <a:pt x="1818" y="450"/>
                  </a:lnTo>
                  <a:lnTo>
                    <a:pt x="1778" y="424"/>
                  </a:lnTo>
                  <a:lnTo>
                    <a:pt x="1738" y="400"/>
                  </a:lnTo>
                  <a:lnTo>
                    <a:pt x="1698" y="380"/>
                  </a:lnTo>
                  <a:lnTo>
                    <a:pt x="1656" y="360"/>
                  </a:lnTo>
                  <a:lnTo>
                    <a:pt x="1612" y="342"/>
                  </a:lnTo>
                  <a:lnTo>
                    <a:pt x="1570" y="328"/>
                  </a:lnTo>
                  <a:lnTo>
                    <a:pt x="1524" y="316"/>
                  </a:lnTo>
                  <a:lnTo>
                    <a:pt x="1480" y="306"/>
                  </a:lnTo>
                  <a:lnTo>
                    <a:pt x="1434" y="298"/>
                  </a:lnTo>
                  <a:lnTo>
                    <a:pt x="1386" y="292"/>
                  </a:lnTo>
                  <a:lnTo>
                    <a:pt x="1338" y="288"/>
                  </a:lnTo>
                  <a:lnTo>
                    <a:pt x="1290" y="288"/>
                  </a:lnTo>
                  <a:lnTo>
                    <a:pt x="1290" y="288"/>
                  </a:lnTo>
                  <a:lnTo>
                    <a:pt x="1240" y="288"/>
                  </a:lnTo>
                  <a:lnTo>
                    <a:pt x="1190" y="292"/>
                  </a:lnTo>
                  <a:lnTo>
                    <a:pt x="1142" y="298"/>
                  </a:lnTo>
                  <a:lnTo>
                    <a:pt x="1094" y="306"/>
                  </a:lnTo>
                  <a:lnTo>
                    <a:pt x="1048" y="316"/>
                  </a:lnTo>
                  <a:lnTo>
                    <a:pt x="1002" y="328"/>
                  </a:lnTo>
                  <a:lnTo>
                    <a:pt x="958" y="344"/>
                  </a:lnTo>
                  <a:lnTo>
                    <a:pt x="914" y="362"/>
                  </a:lnTo>
                  <a:lnTo>
                    <a:pt x="872" y="380"/>
                  </a:lnTo>
                  <a:lnTo>
                    <a:pt x="830" y="402"/>
                  </a:lnTo>
                  <a:lnTo>
                    <a:pt x="788" y="426"/>
                  </a:lnTo>
                  <a:lnTo>
                    <a:pt x="748" y="454"/>
                  </a:lnTo>
                  <a:lnTo>
                    <a:pt x="710" y="482"/>
                  </a:lnTo>
                  <a:lnTo>
                    <a:pt x="672" y="514"/>
                  </a:lnTo>
                  <a:lnTo>
                    <a:pt x="636" y="548"/>
                  </a:lnTo>
                  <a:lnTo>
                    <a:pt x="598" y="582"/>
                  </a:lnTo>
                  <a:lnTo>
                    <a:pt x="598" y="582"/>
                  </a:lnTo>
                  <a:lnTo>
                    <a:pt x="564" y="620"/>
                  </a:lnTo>
                  <a:lnTo>
                    <a:pt x="532" y="658"/>
                  </a:lnTo>
                  <a:lnTo>
                    <a:pt x="502" y="698"/>
                  </a:lnTo>
                  <a:lnTo>
                    <a:pt x="474" y="738"/>
                  </a:lnTo>
                  <a:lnTo>
                    <a:pt x="448" y="780"/>
                  </a:lnTo>
                  <a:lnTo>
                    <a:pt x="426" y="822"/>
                  </a:lnTo>
                  <a:lnTo>
                    <a:pt x="404" y="866"/>
                  </a:lnTo>
                  <a:lnTo>
                    <a:pt x="386" y="910"/>
                  </a:lnTo>
                  <a:lnTo>
                    <a:pt x="368" y="956"/>
                  </a:lnTo>
                  <a:lnTo>
                    <a:pt x="354" y="1002"/>
                  </a:lnTo>
                  <a:lnTo>
                    <a:pt x="342" y="1050"/>
                  </a:lnTo>
                  <a:lnTo>
                    <a:pt x="332" y="1098"/>
                  </a:lnTo>
                  <a:lnTo>
                    <a:pt x="324" y="1148"/>
                  </a:lnTo>
                  <a:lnTo>
                    <a:pt x="318" y="1198"/>
                  </a:lnTo>
                  <a:lnTo>
                    <a:pt x="316" y="1250"/>
                  </a:lnTo>
                  <a:lnTo>
                    <a:pt x="314" y="1302"/>
                  </a:lnTo>
                  <a:lnTo>
                    <a:pt x="314" y="130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76" name="Freeform 13"/>
            <p:cNvSpPr>
              <a:spLocks noEditPoints="1"/>
            </p:cNvSpPr>
            <p:nvPr userDrawn="1"/>
          </p:nvSpPr>
          <p:spPr bwMode="auto">
            <a:xfrm>
              <a:off x="4488718" y="3220664"/>
              <a:ext cx="76978" cy="301833"/>
            </a:xfrm>
            <a:custGeom>
              <a:avLst/>
              <a:gdLst>
                <a:gd name="T0" fmla="*/ 142 w 1038"/>
                <a:gd name="T1" fmla="*/ 4068 h 4070"/>
                <a:gd name="T2" fmla="*/ 98 w 1038"/>
                <a:gd name="T3" fmla="*/ 4058 h 4070"/>
                <a:gd name="T4" fmla="*/ 58 w 1038"/>
                <a:gd name="T5" fmla="*/ 4032 h 4070"/>
                <a:gd name="T6" fmla="*/ 36 w 1038"/>
                <a:gd name="T7" fmla="*/ 4008 h 4070"/>
                <a:gd name="T8" fmla="*/ 12 w 1038"/>
                <a:gd name="T9" fmla="*/ 3968 h 4070"/>
                <a:gd name="T10" fmla="*/ 0 w 1038"/>
                <a:gd name="T11" fmla="*/ 3922 h 4070"/>
                <a:gd name="T12" fmla="*/ 0 w 1038"/>
                <a:gd name="T13" fmla="*/ 3890 h 4070"/>
                <a:gd name="T14" fmla="*/ 12 w 1038"/>
                <a:gd name="T15" fmla="*/ 3846 h 4070"/>
                <a:gd name="T16" fmla="*/ 36 w 1038"/>
                <a:gd name="T17" fmla="*/ 3808 h 4070"/>
                <a:gd name="T18" fmla="*/ 58 w 1038"/>
                <a:gd name="T19" fmla="*/ 3786 h 4070"/>
                <a:gd name="T20" fmla="*/ 98 w 1038"/>
                <a:gd name="T21" fmla="*/ 3762 h 4070"/>
                <a:gd name="T22" fmla="*/ 142 w 1038"/>
                <a:gd name="T23" fmla="*/ 3748 h 4070"/>
                <a:gd name="T24" fmla="*/ 192 w 1038"/>
                <a:gd name="T25" fmla="*/ 3744 h 4070"/>
                <a:gd name="T26" fmla="*/ 284 w 1038"/>
                <a:gd name="T27" fmla="*/ 3730 h 4070"/>
                <a:gd name="T28" fmla="*/ 366 w 1038"/>
                <a:gd name="T29" fmla="*/ 3706 h 4070"/>
                <a:gd name="T30" fmla="*/ 436 w 1038"/>
                <a:gd name="T31" fmla="*/ 3670 h 4070"/>
                <a:gd name="T32" fmla="*/ 498 w 1038"/>
                <a:gd name="T33" fmla="*/ 3624 h 4070"/>
                <a:gd name="T34" fmla="*/ 548 w 1038"/>
                <a:gd name="T35" fmla="*/ 3566 h 4070"/>
                <a:gd name="T36" fmla="*/ 574 w 1038"/>
                <a:gd name="T37" fmla="*/ 3520 h 4070"/>
                <a:gd name="T38" fmla="*/ 610 w 1038"/>
                <a:gd name="T39" fmla="*/ 3440 h 4070"/>
                <a:gd name="T40" fmla="*/ 636 w 1038"/>
                <a:gd name="T41" fmla="*/ 3346 h 4070"/>
                <a:gd name="T42" fmla="*/ 658 w 1038"/>
                <a:gd name="T43" fmla="*/ 3196 h 4070"/>
                <a:gd name="T44" fmla="*/ 666 w 1038"/>
                <a:gd name="T45" fmla="*/ 750 h 4070"/>
                <a:gd name="T46" fmla="*/ 984 w 1038"/>
                <a:gd name="T47" fmla="*/ 3018 h 4070"/>
                <a:gd name="T48" fmla="*/ 974 w 1038"/>
                <a:gd name="T49" fmla="*/ 3268 h 4070"/>
                <a:gd name="T50" fmla="*/ 946 w 1038"/>
                <a:gd name="T51" fmla="*/ 3466 h 4070"/>
                <a:gd name="T52" fmla="*/ 918 w 1038"/>
                <a:gd name="T53" fmla="*/ 3568 h 4070"/>
                <a:gd name="T54" fmla="*/ 850 w 1038"/>
                <a:gd name="T55" fmla="*/ 3700 h 4070"/>
                <a:gd name="T56" fmla="*/ 748 w 1038"/>
                <a:gd name="T57" fmla="*/ 3820 h 4070"/>
                <a:gd name="T58" fmla="*/ 662 w 1038"/>
                <a:gd name="T59" fmla="*/ 3892 h 4070"/>
                <a:gd name="T60" fmla="*/ 578 w 1038"/>
                <a:gd name="T61" fmla="*/ 3952 h 4070"/>
                <a:gd name="T62" fmla="*/ 490 w 1038"/>
                <a:gd name="T63" fmla="*/ 3998 h 4070"/>
                <a:gd name="T64" fmla="*/ 396 w 1038"/>
                <a:gd name="T65" fmla="*/ 4034 h 4070"/>
                <a:gd name="T66" fmla="*/ 298 w 1038"/>
                <a:gd name="T67" fmla="*/ 4056 h 4070"/>
                <a:gd name="T68" fmla="*/ 194 w 1038"/>
                <a:gd name="T69" fmla="*/ 4068 h 4070"/>
                <a:gd name="T70" fmla="*/ 614 w 1038"/>
                <a:gd name="T71" fmla="*/ 212 h 4070"/>
                <a:gd name="T72" fmla="*/ 618 w 1038"/>
                <a:gd name="T73" fmla="*/ 168 h 4070"/>
                <a:gd name="T74" fmla="*/ 638 w 1038"/>
                <a:gd name="T75" fmla="*/ 112 h 4070"/>
                <a:gd name="T76" fmla="*/ 676 w 1038"/>
                <a:gd name="T77" fmla="*/ 62 h 4070"/>
                <a:gd name="T78" fmla="*/ 708 w 1038"/>
                <a:gd name="T79" fmla="*/ 34 h 4070"/>
                <a:gd name="T80" fmla="*/ 762 w 1038"/>
                <a:gd name="T81" fmla="*/ 8 h 4070"/>
                <a:gd name="T82" fmla="*/ 826 w 1038"/>
                <a:gd name="T83" fmla="*/ 0 h 4070"/>
                <a:gd name="T84" fmla="*/ 868 w 1038"/>
                <a:gd name="T85" fmla="*/ 4 h 4070"/>
                <a:gd name="T86" fmla="*/ 926 w 1038"/>
                <a:gd name="T87" fmla="*/ 24 h 4070"/>
                <a:gd name="T88" fmla="*/ 976 w 1038"/>
                <a:gd name="T89" fmla="*/ 62 h 4070"/>
                <a:gd name="T90" fmla="*/ 1002 w 1038"/>
                <a:gd name="T91" fmla="*/ 94 h 4070"/>
                <a:gd name="T92" fmla="*/ 1028 w 1038"/>
                <a:gd name="T93" fmla="*/ 148 h 4070"/>
                <a:gd name="T94" fmla="*/ 1038 w 1038"/>
                <a:gd name="T95" fmla="*/ 212 h 4070"/>
                <a:gd name="T96" fmla="*/ 1034 w 1038"/>
                <a:gd name="T97" fmla="*/ 254 h 4070"/>
                <a:gd name="T98" fmla="*/ 1012 w 1038"/>
                <a:gd name="T99" fmla="*/ 312 h 4070"/>
                <a:gd name="T100" fmla="*/ 976 w 1038"/>
                <a:gd name="T101" fmla="*/ 362 h 4070"/>
                <a:gd name="T102" fmla="*/ 942 w 1038"/>
                <a:gd name="T103" fmla="*/ 388 h 4070"/>
                <a:gd name="T104" fmla="*/ 888 w 1038"/>
                <a:gd name="T105" fmla="*/ 414 h 4070"/>
                <a:gd name="T106" fmla="*/ 826 w 1038"/>
                <a:gd name="T107" fmla="*/ 424 h 4070"/>
                <a:gd name="T108" fmla="*/ 784 w 1038"/>
                <a:gd name="T109" fmla="*/ 420 h 4070"/>
                <a:gd name="T110" fmla="*/ 728 w 1038"/>
                <a:gd name="T111" fmla="*/ 398 h 4070"/>
                <a:gd name="T112" fmla="*/ 678 w 1038"/>
                <a:gd name="T113" fmla="*/ 360 h 4070"/>
                <a:gd name="T114" fmla="*/ 650 w 1038"/>
                <a:gd name="T115" fmla="*/ 326 h 4070"/>
                <a:gd name="T116" fmla="*/ 622 w 1038"/>
                <a:gd name="T117" fmla="*/ 272 h 4070"/>
                <a:gd name="T118" fmla="*/ 614 w 1038"/>
                <a:gd name="T119" fmla="*/ 212 h 4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8" h="4070">
                  <a:moveTo>
                    <a:pt x="158" y="4070"/>
                  </a:moveTo>
                  <a:lnTo>
                    <a:pt x="158" y="4070"/>
                  </a:lnTo>
                  <a:lnTo>
                    <a:pt x="142" y="4068"/>
                  </a:lnTo>
                  <a:lnTo>
                    <a:pt x="126" y="4066"/>
                  </a:lnTo>
                  <a:lnTo>
                    <a:pt x="112" y="4062"/>
                  </a:lnTo>
                  <a:lnTo>
                    <a:pt x="98" y="4058"/>
                  </a:lnTo>
                  <a:lnTo>
                    <a:pt x="84" y="4050"/>
                  </a:lnTo>
                  <a:lnTo>
                    <a:pt x="70" y="4042"/>
                  </a:lnTo>
                  <a:lnTo>
                    <a:pt x="58" y="4032"/>
                  </a:lnTo>
                  <a:lnTo>
                    <a:pt x="46" y="4020"/>
                  </a:lnTo>
                  <a:lnTo>
                    <a:pt x="46" y="4020"/>
                  </a:lnTo>
                  <a:lnTo>
                    <a:pt x="36" y="4008"/>
                  </a:lnTo>
                  <a:lnTo>
                    <a:pt x="26" y="3996"/>
                  </a:lnTo>
                  <a:lnTo>
                    <a:pt x="18" y="3982"/>
                  </a:lnTo>
                  <a:lnTo>
                    <a:pt x="12" y="3968"/>
                  </a:lnTo>
                  <a:lnTo>
                    <a:pt x="6" y="3954"/>
                  </a:lnTo>
                  <a:lnTo>
                    <a:pt x="2" y="3938"/>
                  </a:lnTo>
                  <a:lnTo>
                    <a:pt x="0" y="3922"/>
                  </a:lnTo>
                  <a:lnTo>
                    <a:pt x="0" y="3906"/>
                  </a:lnTo>
                  <a:lnTo>
                    <a:pt x="0" y="3906"/>
                  </a:lnTo>
                  <a:lnTo>
                    <a:pt x="0" y="3890"/>
                  </a:lnTo>
                  <a:lnTo>
                    <a:pt x="2" y="3874"/>
                  </a:lnTo>
                  <a:lnTo>
                    <a:pt x="6" y="3860"/>
                  </a:lnTo>
                  <a:lnTo>
                    <a:pt x="12" y="3846"/>
                  </a:lnTo>
                  <a:lnTo>
                    <a:pt x="18" y="3832"/>
                  </a:lnTo>
                  <a:lnTo>
                    <a:pt x="26" y="3820"/>
                  </a:lnTo>
                  <a:lnTo>
                    <a:pt x="36" y="3808"/>
                  </a:lnTo>
                  <a:lnTo>
                    <a:pt x="46" y="3796"/>
                  </a:lnTo>
                  <a:lnTo>
                    <a:pt x="46" y="3796"/>
                  </a:lnTo>
                  <a:lnTo>
                    <a:pt x="58" y="3786"/>
                  </a:lnTo>
                  <a:lnTo>
                    <a:pt x="70" y="3776"/>
                  </a:lnTo>
                  <a:lnTo>
                    <a:pt x="84" y="3768"/>
                  </a:lnTo>
                  <a:lnTo>
                    <a:pt x="98" y="3762"/>
                  </a:lnTo>
                  <a:lnTo>
                    <a:pt x="112" y="3756"/>
                  </a:lnTo>
                  <a:lnTo>
                    <a:pt x="126" y="3752"/>
                  </a:lnTo>
                  <a:lnTo>
                    <a:pt x="142" y="3748"/>
                  </a:lnTo>
                  <a:lnTo>
                    <a:pt x="158" y="3748"/>
                  </a:lnTo>
                  <a:lnTo>
                    <a:pt x="158" y="3748"/>
                  </a:lnTo>
                  <a:lnTo>
                    <a:pt x="192" y="3744"/>
                  </a:lnTo>
                  <a:lnTo>
                    <a:pt x="224" y="3742"/>
                  </a:lnTo>
                  <a:lnTo>
                    <a:pt x="254" y="3736"/>
                  </a:lnTo>
                  <a:lnTo>
                    <a:pt x="284" y="3730"/>
                  </a:lnTo>
                  <a:lnTo>
                    <a:pt x="312" y="3724"/>
                  </a:lnTo>
                  <a:lnTo>
                    <a:pt x="340" y="3716"/>
                  </a:lnTo>
                  <a:lnTo>
                    <a:pt x="366" y="3706"/>
                  </a:lnTo>
                  <a:lnTo>
                    <a:pt x="390" y="3696"/>
                  </a:lnTo>
                  <a:lnTo>
                    <a:pt x="414" y="3684"/>
                  </a:lnTo>
                  <a:lnTo>
                    <a:pt x="436" y="3670"/>
                  </a:lnTo>
                  <a:lnTo>
                    <a:pt x="458" y="3656"/>
                  </a:lnTo>
                  <a:lnTo>
                    <a:pt x="478" y="3640"/>
                  </a:lnTo>
                  <a:lnTo>
                    <a:pt x="498" y="3624"/>
                  </a:lnTo>
                  <a:lnTo>
                    <a:pt x="514" y="3606"/>
                  </a:lnTo>
                  <a:lnTo>
                    <a:pt x="532" y="3586"/>
                  </a:lnTo>
                  <a:lnTo>
                    <a:pt x="548" y="3566"/>
                  </a:lnTo>
                  <a:lnTo>
                    <a:pt x="548" y="3566"/>
                  </a:lnTo>
                  <a:lnTo>
                    <a:pt x="562" y="3544"/>
                  </a:lnTo>
                  <a:lnTo>
                    <a:pt x="574" y="3520"/>
                  </a:lnTo>
                  <a:lnTo>
                    <a:pt x="588" y="3496"/>
                  </a:lnTo>
                  <a:lnTo>
                    <a:pt x="600" y="3470"/>
                  </a:lnTo>
                  <a:lnTo>
                    <a:pt x="610" y="3440"/>
                  </a:lnTo>
                  <a:lnTo>
                    <a:pt x="620" y="3410"/>
                  </a:lnTo>
                  <a:lnTo>
                    <a:pt x="628" y="3378"/>
                  </a:lnTo>
                  <a:lnTo>
                    <a:pt x="636" y="3346"/>
                  </a:lnTo>
                  <a:lnTo>
                    <a:pt x="644" y="3310"/>
                  </a:lnTo>
                  <a:lnTo>
                    <a:pt x="650" y="3274"/>
                  </a:lnTo>
                  <a:lnTo>
                    <a:pt x="658" y="3196"/>
                  </a:lnTo>
                  <a:lnTo>
                    <a:pt x="664" y="3110"/>
                  </a:lnTo>
                  <a:lnTo>
                    <a:pt x="666" y="3018"/>
                  </a:lnTo>
                  <a:lnTo>
                    <a:pt x="666" y="750"/>
                  </a:lnTo>
                  <a:lnTo>
                    <a:pt x="984" y="750"/>
                  </a:lnTo>
                  <a:lnTo>
                    <a:pt x="984" y="3018"/>
                  </a:lnTo>
                  <a:lnTo>
                    <a:pt x="984" y="3018"/>
                  </a:lnTo>
                  <a:lnTo>
                    <a:pt x="984" y="3108"/>
                  </a:lnTo>
                  <a:lnTo>
                    <a:pt x="980" y="3190"/>
                  </a:lnTo>
                  <a:lnTo>
                    <a:pt x="974" y="3268"/>
                  </a:lnTo>
                  <a:lnTo>
                    <a:pt x="968" y="3340"/>
                  </a:lnTo>
                  <a:lnTo>
                    <a:pt x="958" y="3406"/>
                  </a:lnTo>
                  <a:lnTo>
                    <a:pt x="946" y="3466"/>
                  </a:lnTo>
                  <a:lnTo>
                    <a:pt x="934" y="3520"/>
                  </a:lnTo>
                  <a:lnTo>
                    <a:pt x="918" y="3568"/>
                  </a:lnTo>
                  <a:lnTo>
                    <a:pt x="918" y="3568"/>
                  </a:lnTo>
                  <a:lnTo>
                    <a:pt x="900" y="3614"/>
                  </a:lnTo>
                  <a:lnTo>
                    <a:pt x="876" y="3658"/>
                  </a:lnTo>
                  <a:lnTo>
                    <a:pt x="850" y="3700"/>
                  </a:lnTo>
                  <a:lnTo>
                    <a:pt x="820" y="3742"/>
                  </a:lnTo>
                  <a:lnTo>
                    <a:pt x="786" y="3780"/>
                  </a:lnTo>
                  <a:lnTo>
                    <a:pt x="748" y="3820"/>
                  </a:lnTo>
                  <a:lnTo>
                    <a:pt x="708" y="3856"/>
                  </a:lnTo>
                  <a:lnTo>
                    <a:pt x="662" y="3892"/>
                  </a:lnTo>
                  <a:lnTo>
                    <a:pt x="662" y="3892"/>
                  </a:lnTo>
                  <a:lnTo>
                    <a:pt x="634" y="3914"/>
                  </a:lnTo>
                  <a:lnTo>
                    <a:pt x="606" y="3934"/>
                  </a:lnTo>
                  <a:lnTo>
                    <a:pt x="578" y="3952"/>
                  </a:lnTo>
                  <a:lnTo>
                    <a:pt x="550" y="3968"/>
                  </a:lnTo>
                  <a:lnTo>
                    <a:pt x="520" y="3984"/>
                  </a:lnTo>
                  <a:lnTo>
                    <a:pt x="490" y="3998"/>
                  </a:lnTo>
                  <a:lnTo>
                    <a:pt x="460" y="4012"/>
                  </a:lnTo>
                  <a:lnTo>
                    <a:pt x="428" y="4022"/>
                  </a:lnTo>
                  <a:lnTo>
                    <a:pt x="396" y="4034"/>
                  </a:lnTo>
                  <a:lnTo>
                    <a:pt x="364" y="4042"/>
                  </a:lnTo>
                  <a:lnTo>
                    <a:pt x="332" y="4050"/>
                  </a:lnTo>
                  <a:lnTo>
                    <a:pt x="298" y="4056"/>
                  </a:lnTo>
                  <a:lnTo>
                    <a:pt x="264" y="4062"/>
                  </a:lnTo>
                  <a:lnTo>
                    <a:pt x="230" y="4066"/>
                  </a:lnTo>
                  <a:lnTo>
                    <a:pt x="194" y="4068"/>
                  </a:lnTo>
                  <a:lnTo>
                    <a:pt x="158" y="4070"/>
                  </a:lnTo>
                  <a:lnTo>
                    <a:pt x="158" y="4070"/>
                  </a:lnTo>
                  <a:close/>
                  <a:moveTo>
                    <a:pt x="614" y="212"/>
                  </a:moveTo>
                  <a:lnTo>
                    <a:pt x="614" y="212"/>
                  </a:lnTo>
                  <a:lnTo>
                    <a:pt x="614" y="190"/>
                  </a:lnTo>
                  <a:lnTo>
                    <a:pt x="618" y="168"/>
                  </a:lnTo>
                  <a:lnTo>
                    <a:pt x="622" y="148"/>
                  </a:lnTo>
                  <a:lnTo>
                    <a:pt x="628" y="130"/>
                  </a:lnTo>
                  <a:lnTo>
                    <a:pt x="638" y="112"/>
                  </a:lnTo>
                  <a:lnTo>
                    <a:pt x="648" y="94"/>
                  </a:lnTo>
                  <a:lnTo>
                    <a:pt x="660" y="78"/>
                  </a:lnTo>
                  <a:lnTo>
                    <a:pt x="676" y="62"/>
                  </a:lnTo>
                  <a:lnTo>
                    <a:pt x="676" y="62"/>
                  </a:lnTo>
                  <a:lnTo>
                    <a:pt x="690" y="46"/>
                  </a:lnTo>
                  <a:lnTo>
                    <a:pt x="708" y="34"/>
                  </a:lnTo>
                  <a:lnTo>
                    <a:pt x="726" y="24"/>
                  </a:lnTo>
                  <a:lnTo>
                    <a:pt x="744" y="16"/>
                  </a:lnTo>
                  <a:lnTo>
                    <a:pt x="762" y="8"/>
                  </a:lnTo>
                  <a:lnTo>
                    <a:pt x="782" y="4"/>
                  </a:lnTo>
                  <a:lnTo>
                    <a:pt x="804" y="0"/>
                  </a:lnTo>
                  <a:lnTo>
                    <a:pt x="826" y="0"/>
                  </a:lnTo>
                  <a:lnTo>
                    <a:pt x="826" y="0"/>
                  </a:lnTo>
                  <a:lnTo>
                    <a:pt x="846" y="0"/>
                  </a:lnTo>
                  <a:lnTo>
                    <a:pt x="868" y="4"/>
                  </a:lnTo>
                  <a:lnTo>
                    <a:pt x="888" y="8"/>
                  </a:lnTo>
                  <a:lnTo>
                    <a:pt x="906" y="16"/>
                  </a:lnTo>
                  <a:lnTo>
                    <a:pt x="926" y="24"/>
                  </a:lnTo>
                  <a:lnTo>
                    <a:pt x="942" y="34"/>
                  </a:lnTo>
                  <a:lnTo>
                    <a:pt x="960" y="46"/>
                  </a:lnTo>
                  <a:lnTo>
                    <a:pt x="976" y="62"/>
                  </a:lnTo>
                  <a:lnTo>
                    <a:pt x="976" y="62"/>
                  </a:lnTo>
                  <a:lnTo>
                    <a:pt x="990" y="78"/>
                  </a:lnTo>
                  <a:lnTo>
                    <a:pt x="1002" y="94"/>
                  </a:lnTo>
                  <a:lnTo>
                    <a:pt x="1012" y="112"/>
                  </a:lnTo>
                  <a:lnTo>
                    <a:pt x="1022" y="130"/>
                  </a:lnTo>
                  <a:lnTo>
                    <a:pt x="1028" y="148"/>
                  </a:lnTo>
                  <a:lnTo>
                    <a:pt x="1034" y="168"/>
                  </a:lnTo>
                  <a:lnTo>
                    <a:pt x="1036" y="190"/>
                  </a:lnTo>
                  <a:lnTo>
                    <a:pt x="1038" y="212"/>
                  </a:lnTo>
                  <a:lnTo>
                    <a:pt x="1038" y="212"/>
                  </a:lnTo>
                  <a:lnTo>
                    <a:pt x="1036" y="234"/>
                  </a:lnTo>
                  <a:lnTo>
                    <a:pt x="1034" y="254"/>
                  </a:lnTo>
                  <a:lnTo>
                    <a:pt x="1028" y="274"/>
                  </a:lnTo>
                  <a:lnTo>
                    <a:pt x="1022" y="294"/>
                  </a:lnTo>
                  <a:lnTo>
                    <a:pt x="1012" y="312"/>
                  </a:lnTo>
                  <a:lnTo>
                    <a:pt x="1002" y="328"/>
                  </a:lnTo>
                  <a:lnTo>
                    <a:pt x="990" y="346"/>
                  </a:lnTo>
                  <a:lnTo>
                    <a:pt x="976" y="362"/>
                  </a:lnTo>
                  <a:lnTo>
                    <a:pt x="976" y="362"/>
                  </a:lnTo>
                  <a:lnTo>
                    <a:pt x="960" y="376"/>
                  </a:lnTo>
                  <a:lnTo>
                    <a:pt x="942" y="388"/>
                  </a:lnTo>
                  <a:lnTo>
                    <a:pt x="926" y="400"/>
                  </a:lnTo>
                  <a:lnTo>
                    <a:pt x="906" y="408"/>
                  </a:lnTo>
                  <a:lnTo>
                    <a:pt x="888" y="414"/>
                  </a:lnTo>
                  <a:lnTo>
                    <a:pt x="868" y="420"/>
                  </a:lnTo>
                  <a:lnTo>
                    <a:pt x="846" y="422"/>
                  </a:lnTo>
                  <a:lnTo>
                    <a:pt x="826" y="424"/>
                  </a:lnTo>
                  <a:lnTo>
                    <a:pt x="826" y="424"/>
                  </a:lnTo>
                  <a:lnTo>
                    <a:pt x="804" y="422"/>
                  </a:lnTo>
                  <a:lnTo>
                    <a:pt x="784" y="420"/>
                  </a:lnTo>
                  <a:lnTo>
                    <a:pt x="764" y="414"/>
                  </a:lnTo>
                  <a:lnTo>
                    <a:pt x="746" y="408"/>
                  </a:lnTo>
                  <a:lnTo>
                    <a:pt x="728" y="398"/>
                  </a:lnTo>
                  <a:lnTo>
                    <a:pt x="710" y="388"/>
                  </a:lnTo>
                  <a:lnTo>
                    <a:pt x="694" y="374"/>
                  </a:lnTo>
                  <a:lnTo>
                    <a:pt x="678" y="360"/>
                  </a:lnTo>
                  <a:lnTo>
                    <a:pt x="678" y="360"/>
                  </a:lnTo>
                  <a:lnTo>
                    <a:pt x="662" y="344"/>
                  </a:lnTo>
                  <a:lnTo>
                    <a:pt x="650" y="326"/>
                  </a:lnTo>
                  <a:lnTo>
                    <a:pt x="638" y="308"/>
                  </a:lnTo>
                  <a:lnTo>
                    <a:pt x="630" y="290"/>
                  </a:lnTo>
                  <a:lnTo>
                    <a:pt x="622" y="272"/>
                  </a:lnTo>
                  <a:lnTo>
                    <a:pt x="618" y="252"/>
                  </a:lnTo>
                  <a:lnTo>
                    <a:pt x="614" y="232"/>
                  </a:lnTo>
                  <a:lnTo>
                    <a:pt x="614" y="212"/>
                  </a:lnTo>
                  <a:lnTo>
                    <a:pt x="614" y="21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77" name="Freeform 14"/>
            <p:cNvSpPr>
              <a:spLocks noEditPoints="1"/>
            </p:cNvSpPr>
            <p:nvPr userDrawn="1"/>
          </p:nvSpPr>
          <p:spPr bwMode="auto">
            <a:xfrm>
              <a:off x="4589576" y="3271687"/>
              <a:ext cx="190147" cy="191185"/>
            </a:xfrm>
            <a:custGeom>
              <a:avLst/>
              <a:gdLst>
                <a:gd name="T0" fmla="*/ 2550 w 2564"/>
                <a:gd name="T1" fmla="*/ 1490 h 2578"/>
                <a:gd name="T2" fmla="*/ 2468 w 2564"/>
                <a:gd name="T3" fmla="*/ 1782 h 2578"/>
                <a:gd name="T4" fmla="*/ 2312 w 2564"/>
                <a:gd name="T5" fmla="*/ 2048 h 2578"/>
                <a:gd name="T6" fmla="*/ 2134 w 2564"/>
                <a:gd name="T7" fmla="*/ 2242 h 2578"/>
                <a:gd name="T8" fmla="*/ 1878 w 2564"/>
                <a:gd name="T9" fmla="*/ 2428 h 2578"/>
                <a:gd name="T10" fmla="*/ 1596 w 2564"/>
                <a:gd name="T11" fmla="*/ 2540 h 2578"/>
                <a:gd name="T12" fmla="*/ 1288 w 2564"/>
                <a:gd name="T13" fmla="*/ 2578 h 2578"/>
                <a:gd name="T14" fmla="*/ 1032 w 2564"/>
                <a:gd name="T15" fmla="*/ 2554 h 2578"/>
                <a:gd name="T16" fmla="*/ 740 w 2564"/>
                <a:gd name="T17" fmla="*/ 2460 h 2578"/>
                <a:gd name="T18" fmla="*/ 476 w 2564"/>
                <a:gd name="T19" fmla="*/ 2290 h 2578"/>
                <a:gd name="T20" fmla="*/ 290 w 2564"/>
                <a:gd name="T21" fmla="*/ 2106 h 2578"/>
                <a:gd name="T22" fmla="*/ 120 w 2564"/>
                <a:gd name="T23" fmla="*/ 1846 h 2578"/>
                <a:gd name="T24" fmla="*/ 22 w 2564"/>
                <a:gd name="T25" fmla="*/ 1558 h 2578"/>
                <a:gd name="T26" fmla="*/ 0 w 2564"/>
                <a:gd name="T27" fmla="*/ 1306 h 2578"/>
                <a:gd name="T28" fmla="*/ 36 w 2564"/>
                <a:gd name="T29" fmla="*/ 984 h 2578"/>
                <a:gd name="T30" fmla="*/ 146 w 2564"/>
                <a:gd name="T31" fmla="*/ 692 h 2578"/>
                <a:gd name="T32" fmla="*/ 330 w 2564"/>
                <a:gd name="T33" fmla="*/ 430 h 2578"/>
                <a:gd name="T34" fmla="*/ 520 w 2564"/>
                <a:gd name="T35" fmla="*/ 252 h 2578"/>
                <a:gd name="T36" fmla="*/ 790 w 2564"/>
                <a:gd name="T37" fmla="*/ 96 h 2578"/>
                <a:gd name="T38" fmla="*/ 1092 w 2564"/>
                <a:gd name="T39" fmla="*/ 14 h 2578"/>
                <a:gd name="T40" fmla="*/ 1354 w 2564"/>
                <a:gd name="T41" fmla="*/ 2 h 2578"/>
                <a:gd name="T42" fmla="*/ 1660 w 2564"/>
                <a:gd name="T43" fmla="*/ 54 h 2578"/>
                <a:gd name="T44" fmla="*/ 1940 w 2564"/>
                <a:gd name="T45" fmla="*/ 182 h 2578"/>
                <a:gd name="T46" fmla="*/ 2188 w 2564"/>
                <a:gd name="T47" fmla="*/ 384 h 2578"/>
                <a:gd name="T48" fmla="*/ 2352 w 2564"/>
                <a:gd name="T49" fmla="*/ 586 h 2578"/>
                <a:gd name="T50" fmla="*/ 2492 w 2564"/>
                <a:gd name="T51" fmla="*/ 864 h 2578"/>
                <a:gd name="T52" fmla="*/ 2558 w 2564"/>
                <a:gd name="T53" fmla="*/ 1172 h 2578"/>
                <a:gd name="T54" fmla="*/ 312 w 2564"/>
                <a:gd name="T55" fmla="*/ 1302 h 2578"/>
                <a:gd name="T56" fmla="*/ 340 w 2564"/>
                <a:gd name="T57" fmla="*/ 1548 h 2578"/>
                <a:gd name="T58" fmla="*/ 424 w 2564"/>
                <a:gd name="T59" fmla="*/ 1768 h 2578"/>
                <a:gd name="T60" fmla="*/ 564 w 2564"/>
                <a:gd name="T61" fmla="*/ 1968 h 2578"/>
                <a:gd name="T62" fmla="*/ 712 w 2564"/>
                <a:gd name="T63" fmla="*/ 2104 h 2578"/>
                <a:gd name="T64" fmla="*/ 916 w 2564"/>
                <a:gd name="T65" fmla="*/ 2222 h 2578"/>
                <a:gd name="T66" fmla="*/ 1142 w 2564"/>
                <a:gd name="T67" fmla="*/ 2286 h 2578"/>
                <a:gd name="T68" fmla="*/ 1338 w 2564"/>
                <a:gd name="T69" fmla="*/ 2294 h 2578"/>
                <a:gd name="T70" fmla="*/ 1572 w 2564"/>
                <a:gd name="T71" fmla="*/ 2254 h 2578"/>
                <a:gd name="T72" fmla="*/ 1782 w 2564"/>
                <a:gd name="T73" fmla="*/ 2156 h 2578"/>
                <a:gd name="T74" fmla="*/ 1970 w 2564"/>
                <a:gd name="T75" fmla="*/ 2000 h 2578"/>
                <a:gd name="T76" fmla="*/ 2092 w 2564"/>
                <a:gd name="T77" fmla="*/ 1844 h 2578"/>
                <a:gd name="T78" fmla="*/ 2196 w 2564"/>
                <a:gd name="T79" fmla="*/ 1626 h 2578"/>
                <a:gd name="T80" fmla="*/ 2246 w 2564"/>
                <a:gd name="T81" fmla="*/ 1380 h 2578"/>
                <a:gd name="T82" fmla="*/ 2246 w 2564"/>
                <a:gd name="T83" fmla="*/ 1176 h 2578"/>
                <a:gd name="T84" fmla="*/ 2196 w 2564"/>
                <a:gd name="T85" fmla="*/ 942 h 2578"/>
                <a:gd name="T86" fmla="*/ 2090 w 2564"/>
                <a:gd name="T87" fmla="*/ 732 h 2578"/>
                <a:gd name="T88" fmla="*/ 1966 w 2564"/>
                <a:gd name="T89" fmla="*/ 578 h 2578"/>
                <a:gd name="T90" fmla="*/ 1778 w 2564"/>
                <a:gd name="T91" fmla="*/ 424 h 2578"/>
                <a:gd name="T92" fmla="*/ 1568 w 2564"/>
                <a:gd name="T93" fmla="*/ 328 h 2578"/>
                <a:gd name="T94" fmla="*/ 1336 w 2564"/>
                <a:gd name="T95" fmla="*/ 288 h 2578"/>
                <a:gd name="T96" fmla="*/ 1140 w 2564"/>
                <a:gd name="T97" fmla="*/ 298 h 2578"/>
                <a:gd name="T98" fmla="*/ 912 w 2564"/>
                <a:gd name="T99" fmla="*/ 362 h 2578"/>
                <a:gd name="T100" fmla="*/ 708 w 2564"/>
                <a:gd name="T101" fmla="*/ 482 h 2578"/>
                <a:gd name="T102" fmla="*/ 562 w 2564"/>
                <a:gd name="T103" fmla="*/ 620 h 2578"/>
                <a:gd name="T104" fmla="*/ 424 w 2564"/>
                <a:gd name="T105" fmla="*/ 822 h 2578"/>
                <a:gd name="T106" fmla="*/ 340 w 2564"/>
                <a:gd name="T107" fmla="*/ 1050 h 2578"/>
                <a:gd name="T108" fmla="*/ 312 w 2564"/>
                <a:gd name="T109" fmla="*/ 1302 h 2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64" h="2578">
                  <a:moveTo>
                    <a:pt x="2564" y="1302"/>
                  </a:moveTo>
                  <a:lnTo>
                    <a:pt x="2564" y="1302"/>
                  </a:lnTo>
                  <a:lnTo>
                    <a:pt x="2562" y="1366"/>
                  </a:lnTo>
                  <a:lnTo>
                    <a:pt x="2558" y="1428"/>
                  </a:lnTo>
                  <a:lnTo>
                    <a:pt x="2550" y="1490"/>
                  </a:lnTo>
                  <a:lnTo>
                    <a:pt x="2540" y="1550"/>
                  </a:lnTo>
                  <a:lnTo>
                    <a:pt x="2526" y="1610"/>
                  </a:lnTo>
                  <a:lnTo>
                    <a:pt x="2510" y="1668"/>
                  </a:lnTo>
                  <a:lnTo>
                    <a:pt x="2490" y="1726"/>
                  </a:lnTo>
                  <a:lnTo>
                    <a:pt x="2468" y="1782"/>
                  </a:lnTo>
                  <a:lnTo>
                    <a:pt x="2442" y="1838"/>
                  </a:lnTo>
                  <a:lnTo>
                    <a:pt x="2414" y="1892"/>
                  </a:lnTo>
                  <a:lnTo>
                    <a:pt x="2384" y="1944"/>
                  </a:lnTo>
                  <a:lnTo>
                    <a:pt x="2350" y="1998"/>
                  </a:lnTo>
                  <a:lnTo>
                    <a:pt x="2312" y="2048"/>
                  </a:lnTo>
                  <a:lnTo>
                    <a:pt x="2272" y="2098"/>
                  </a:lnTo>
                  <a:lnTo>
                    <a:pt x="2228" y="2148"/>
                  </a:lnTo>
                  <a:lnTo>
                    <a:pt x="2182" y="2196"/>
                  </a:lnTo>
                  <a:lnTo>
                    <a:pt x="2182" y="2196"/>
                  </a:lnTo>
                  <a:lnTo>
                    <a:pt x="2134" y="2242"/>
                  </a:lnTo>
                  <a:lnTo>
                    <a:pt x="2084" y="2286"/>
                  </a:lnTo>
                  <a:lnTo>
                    <a:pt x="2034" y="2326"/>
                  </a:lnTo>
                  <a:lnTo>
                    <a:pt x="1982" y="2364"/>
                  </a:lnTo>
                  <a:lnTo>
                    <a:pt x="1930" y="2398"/>
                  </a:lnTo>
                  <a:lnTo>
                    <a:pt x="1878" y="2428"/>
                  </a:lnTo>
                  <a:lnTo>
                    <a:pt x="1822" y="2458"/>
                  </a:lnTo>
                  <a:lnTo>
                    <a:pt x="1768" y="2482"/>
                  </a:lnTo>
                  <a:lnTo>
                    <a:pt x="1712" y="2504"/>
                  </a:lnTo>
                  <a:lnTo>
                    <a:pt x="1654" y="2524"/>
                  </a:lnTo>
                  <a:lnTo>
                    <a:pt x="1596" y="2540"/>
                  </a:lnTo>
                  <a:lnTo>
                    <a:pt x="1536" y="2554"/>
                  </a:lnTo>
                  <a:lnTo>
                    <a:pt x="1476" y="2564"/>
                  </a:lnTo>
                  <a:lnTo>
                    <a:pt x="1414" y="2572"/>
                  </a:lnTo>
                  <a:lnTo>
                    <a:pt x="1352" y="2576"/>
                  </a:lnTo>
                  <a:lnTo>
                    <a:pt x="1288" y="2578"/>
                  </a:lnTo>
                  <a:lnTo>
                    <a:pt x="1288" y="2578"/>
                  </a:lnTo>
                  <a:lnTo>
                    <a:pt x="1222" y="2576"/>
                  </a:lnTo>
                  <a:lnTo>
                    <a:pt x="1158" y="2572"/>
                  </a:lnTo>
                  <a:lnTo>
                    <a:pt x="1094" y="2564"/>
                  </a:lnTo>
                  <a:lnTo>
                    <a:pt x="1032" y="2554"/>
                  </a:lnTo>
                  <a:lnTo>
                    <a:pt x="972" y="2542"/>
                  </a:lnTo>
                  <a:lnTo>
                    <a:pt x="912" y="2526"/>
                  </a:lnTo>
                  <a:lnTo>
                    <a:pt x="854" y="2506"/>
                  </a:lnTo>
                  <a:lnTo>
                    <a:pt x="796" y="2484"/>
                  </a:lnTo>
                  <a:lnTo>
                    <a:pt x="740" y="2460"/>
                  </a:lnTo>
                  <a:lnTo>
                    <a:pt x="684" y="2432"/>
                  </a:lnTo>
                  <a:lnTo>
                    <a:pt x="630" y="2400"/>
                  </a:lnTo>
                  <a:lnTo>
                    <a:pt x="578" y="2366"/>
                  </a:lnTo>
                  <a:lnTo>
                    <a:pt x="526" y="2330"/>
                  </a:lnTo>
                  <a:lnTo>
                    <a:pt x="476" y="2290"/>
                  </a:lnTo>
                  <a:lnTo>
                    <a:pt x="426" y="2248"/>
                  </a:lnTo>
                  <a:lnTo>
                    <a:pt x="378" y="2202"/>
                  </a:lnTo>
                  <a:lnTo>
                    <a:pt x="378" y="2202"/>
                  </a:lnTo>
                  <a:lnTo>
                    <a:pt x="332" y="2156"/>
                  </a:lnTo>
                  <a:lnTo>
                    <a:pt x="290" y="2106"/>
                  </a:lnTo>
                  <a:lnTo>
                    <a:pt x="250" y="2056"/>
                  </a:lnTo>
                  <a:lnTo>
                    <a:pt x="212" y="2006"/>
                  </a:lnTo>
                  <a:lnTo>
                    <a:pt x="178" y="1954"/>
                  </a:lnTo>
                  <a:lnTo>
                    <a:pt x="148" y="1900"/>
                  </a:lnTo>
                  <a:lnTo>
                    <a:pt x="120" y="1846"/>
                  </a:lnTo>
                  <a:lnTo>
                    <a:pt x="94" y="1792"/>
                  </a:lnTo>
                  <a:lnTo>
                    <a:pt x="72" y="1734"/>
                  </a:lnTo>
                  <a:lnTo>
                    <a:pt x="52" y="1676"/>
                  </a:lnTo>
                  <a:lnTo>
                    <a:pt x="36" y="1618"/>
                  </a:lnTo>
                  <a:lnTo>
                    <a:pt x="22" y="1558"/>
                  </a:lnTo>
                  <a:lnTo>
                    <a:pt x="12" y="1496"/>
                  </a:lnTo>
                  <a:lnTo>
                    <a:pt x="6" y="1434"/>
                  </a:lnTo>
                  <a:lnTo>
                    <a:pt x="0" y="1372"/>
                  </a:lnTo>
                  <a:lnTo>
                    <a:pt x="0" y="1306"/>
                  </a:lnTo>
                  <a:lnTo>
                    <a:pt x="0" y="1306"/>
                  </a:lnTo>
                  <a:lnTo>
                    <a:pt x="0" y="1240"/>
                  </a:lnTo>
                  <a:lnTo>
                    <a:pt x="6" y="1174"/>
                  </a:lnTo>
                  <a:lnTo>
                    <a:pt x="12" y="1108"/>
                  </a:lnTo>
                  <a:lnTo>
                    <a:pt x="22" y="1046"/>
                  </a:lnTo>
                  <a:lnTo>
                    <a:pt x="36" y="984"/>
                  </a:lnTo>
                  <a:lnTo>
                    <a:pt x="52" y="922"/>
                  </a:lnTo>
                  <a:lnTo>
                    <a:pt x="72" y="862"/>
                  </a:lnTo>
                  <a:lnTo>
                    <a:pt x="94" y="804"/>
                  </a:lnTo>
                  <a:lnTo>
                    <a:pt x="118" y="746"/>
                  </a:lnTo>
                  <a:lnTo>
                    <a:pt x="146" y="692"/>
                  </a:lnTo>
                  <a:lnTo>
                    <a:pt x="176" y="636"/>
                  </a:lnTo>
                  <a:lnTo>
                    <a:pt x="210" y="582"/>
                  </a:lnTo>
                  <a:lnTo>
                    <a:pt x="246" y="530"/>
                  </a:lnTo>
                  <a:lnTo>
                    <a:pt x="286" y="480"/>
                  </a:lnTo>
                  <a:lnTo>
                    <a:pt x="330" y="430"/>
                  </a:lnTo>
                  <a:lnTo>
                    <a:pt x="374" y="382"/>
                  </a:lnTo>
                  <a:lnTo>
                    <a:pt x="374" y="382"/>
                  </a:lnTo>
                  <a:lnTo>
                    <a:pt x="422" y="336"/>
                  </a:lnTo>
                  <a:lnTo>
                    <a:pt x="470" y="292"/>
                  </a:lnTo>
                  <a:lnTo>
                    <a:pt x="520" y="252"/>
                  </a:lnTo>
                  <a:lnTo>
                    <a:pt x="572" y="214"/>
                  </a:lnTo>
                  <a:lnTo>
                    <a:pt x="624" y="180"/>
                  </a:lnTo>
                  <a:lnTo>
                    <a:pt x="678" y="150"/>
                  </a:lnTo>
                  <a:lnTo>
                    <a:pt x="734" y="120"/>
                  </a:lnTo>
                  <a:lnTo>
                    <a:pt x="790" y="96"/>
                  </a:lnTo>
                  <a:lnTo>
                    <a:pt x="848" y="74"/>
                  </a:lnTo>
                  <a:lnTo>
                    <a:pt x="908" y="54"/>
                  </a:lnTo>
                  <a:lnTo>
                    <a:pt x="968" y="38"/>
                  </a:lnTo>
                  <a:lnTo>
                    <a:pt x="1030" y="24"/>
                  </a:lnTo>
                  <a:lnTo>
                    <a:pt x="1092" y="14"/>
                  </a:lnTo>
                  <a:lnTo>
                    <a:pt x="1156" y="6"/>
                  </a:lnTo>
                  <a:lnTo>
                    <a:pt x="1222" y="2"/>
                  </a:lnTo>
                  <a:lnTo>
                    <a:pt x="1288" y="0"/>
                  </a:lnTo>
                  <a:lnTo>
                    <a:pt x="1288" y="0"/>
                  </a:lnTo>
                  <a:lnTo>
                    <a:pt x="1354" y="2"/>
                  </a:lnTo>
                  <a:lnTo>
                    <a:pt x="1418" y="6"/>
                  </a:lnTo>
                  <a:lnTo>
                    <a:pt x="1480" y="14"/>
                  </a:lnTo>
                  <a:lnTo>
                    <a:pt x="1542" y="24"/>
                  </a:lnTo>
                  <a:lnTo>
                    <a:pt x="1602" y="38"/>
                  </a:lnTo>
                  <a:lnTo>
                    <a:pt x="1660" y="54"/>
                  </a:lnTo>
                  <a:lnTo>
                    <a:pt x="1720" y="74"/>
                  </a:lnTo>
                  <a:lnTo>
                    <a:pt x="1776" y="96"/>
                  </a:lnTo>
                  <a:lnTo>
                    <a:pt x="1832" y="122"/>
                  </a:lnTo>
                  <a:lnTo>
                    <a:pt x="1886" y="150"/>
                  </a:lnTo>
                  <a:lnTo>
                    <a:pt x="1940" y="182"/>
                  </a:lnTo>
                  <a:lnTo>
                    <a:pt x="1992" y="216"/>
                  </a:lnTo>
                  <a:lnTo>
                    <a:pt x="2042" y="254"/>
                  </a:lnTo>
                  <a:lnTo>
                    <a:pt x="2092" y="294"/>
                  </a:lnTo>
                  <a:lnTo>
                    <a:pt x="2142" y="338"/>
                  </a:lnTo>
                  <a:lnTo>
                    <a:pt x="2188" y="384"/>
                  </a:lnTo>
                  <a:lnTo>
                    <a:pt x="2188" y="384"/>
                  </a:lnTo>
                  <a:lnTo>
                    <a:pt x="2234" y="432"/>
                  </a:lnTo>
                  <a:lnTo>
                    <a:pt x="2276" y="482"/>
                  </a:lnTo>
                  <a:lnTo>
                    <a:pt x="2316" y="534"/>
                  </a:lnTo>
                  <a:lnTo>
                    <a:pt x="2352" y="586"/>
                  </a:lnTo>
                  <a:lnTo>
                    <a:pt x="2386" y="638"/>
                  </a:lnTo>
                  <a:lnTo>
                    <a:pt x="2418" y="694"/>
                  </a:lnTo>
                  <a:lnTo>
                    <a:pt x="2446" y="748"/>
                  </a:lnTo>
                  <a:lnTo>
                    <a:pt x="2470" y="806"/>
                  </a:lnTo>
                  <a:lnTo>
                    <a:pt x="2492" y="864"/>
                  </a:lnTo>
                  <a:lnTo>
                    <a:pt x="2512" y="922"/>
                  </a:lnTo>
                  <a:lnTo>
                    <a:pt x="2528" y="984"/>
                  </a:lnTo>
                  <a:lnTo>
                    <a:pt x="2540" y="1044"/>
                  </a:lnTo>
                  <a:lnTo>
                    <a:pt x="2550" y="1108"/>
                  </a:lnTo>
                  <a:lnTo>
                    <a:pt x="2558" y="1172"/>
                  </a:lnTo>
                  <a:lnTo>
                    <a:pt x="2562" y="1236"/>
                  </a:lnTo>
                  <a:lnTo>
                    <a:pt x="2564" y="1302"/>
                  </a:lnTo>
                  <a:lnTo>
                    <a:pt x="2564" y="1302"/>
                  </a:lnTo>
                  <a:close/>
                  <a:moveTo>
                    <a:pt x="312" y="1302"/>
                  </a:moveTo>
                  <a:lnTo>
                    <a:pt x="312" y="1302"/>
                  </a:lnTo>
                  <a:lnTo>
                    <a:pt x="314" y="1354"/>
                  </a:lnTo>
                  <a:lnTo>
                    <a:pt x="318" y="1404"/>
                  </a:lnTo>
                  <a:lnTo>
                    <a:pt x="322" y="1452"/>
                  </a:lnTo>
                  <a:lnTo>
                    <a:pt x="330" y="1500"/>
                  </a:lnTo>
                  <a:lnTo>
                    <a:pt x="340" y="1548"/>
                  </a:lnTo>
                  <a:lnTo>
                    <a:pt x="352" y="1594"/>
                  </a:lnTo>
                  <a:lnTo>
                    <a:pt x="368" y="1638"/>
                  </a:lnTo>
                  <a:lnTo>
                    <a:pt x="384" y="1684"/>
                  </a:lnTo>
                  <a:lnTo>
                    <a:pt x="404" y="1726"/>
                  </a:lnTo>
                  <a:lnTo>
                    <a:pt x="424" y="1768"/>
                  </a:lnTo>
                  <a:lnTo>
                    <a:pt x="448" y="1810"/>
                  </a:lnTo>
                  <a:lnTo>
                    <a:pt x="474" y="1852"/>
                  </a:lnTo>
                  <a:lnTo>
                    <a:pt x="502" y="1890"/>
                  </a:lnTo>
                  <a:lnTo>
                    <a:pt x="532" y="1930"/>
                  </a:lnTo>
                  <a:lnTo>
                    <a:pt x="564" y="1968"/>
                  </a:lnTo>
                  <a:lnTo>
                    <a:pt x="600" y="2004"/>
                  </a:lnTo>
                  <a:lnTo>
                    <a:pt x="600" y="2004"/>
                  </a:lnTo>
                  <a:lnTo>
                    <a:pt x="636" y="2040"/>
                  </a:lnTo>
                  <a:lnTo>
                    <a:pt x="674" y="2072"/>
                  </a:lnTo>
                  <a:lnTo>
                    <a:pt x="712" y="2104"/>
                  </a:lnTo>
                  <a:lnTo>
                    <a:pt x="750" y="2132"/>
                  </a:lnTo>
                  <a:lnTo>
                    <a:pt x="790" y="2158"/>
                  </a:lnTo>
                  <a:lnTo>
                    <a:pt x="830" y="2182"/>
                  </a:lnTo>
                  <a:lnTo>
                    <a:pt x="872" y="2204"/>
                  </a:lnTo>
                  <a:lnTo>
                    <a:pt x="916" y="2222"/>
                  </a:lnTo>
                  <a:lnTo>
                    <a:pt x="958" y="2240"/>
                  </a:lnTo>
                  <a:lnTo>
                    <a:pt x="1004" y="2254"/>
                  </a:lnTo>
                  <a:lnTo>
                    <a:pt x="1048" y="2268"/>
                  </a:lnTo>
                  <a:lnTo>
                    <a:pt x="1094" y="2278"/>
                  </a:lnTo>
                  <a:lnTo>
                    <a:pt x="1142" y="2286"/>
                  </a:lnTo>
                  <a:lnTo>
                    <a:pt x="1190" y="2290"/>
                  </a:lnTo>
                  <a:lnTo>
                    <a:pt x="1238" y="2294"/>
                  </a:lnTo>
                  <a:lnTo>
                    <a:pt x="1288" y="2296"/>
                  </a:lnTo>
                  <a:lnTo>
                    <a:pt x="1288" y="2296"/>
                  </a:lnTo>
                  <a:lnTo>
                    <a:pt x="1338" y="2294"/>
                  </a:lnTo>
                  <a:lnTo>
                    <a:pt x="1386" y="2290"/>
                  </a:lnTo>
                  <a:lnTo>
                    <a:pt x="1434" y="2286"/>
                  </a:lnTo>
                  <a:lnTo>
                    <a:pt x="1482" y="2278"/>
                  </a:lnTo>
                  <a:lnTo>
                    <a:pt x="1528" y="2266"/>
                  </a:lnTo>
                  <a:lnTo>
                    <a:pt x="1572" y="2254"/>
                  </a:lnTo>
                  <a:lnTo>
                    <a:pt x="1616" y="2238"/>
                  </a:lnTo>
                  <a:lnTo>
                    <a:pt x="1660" y="2222"/>
                  </a:lnTo>
                  <a:lnTo>
                    <a:pt x="1702" y="2202"/>
                  </a:lnTo>
                  <a:lnTo>
                    <a:pt x="1742" y="2180"/>
                  </a:lnTo>
                  <a:lnTo>
                    <a:pt x="1782" y="2156"/>
                  </a:lnTo>
                  <a:lnTo>
                    <a:pt x="1822" y="2130"/>
                  </a:lnTo>
                  <a:lnTo>
                    <a:pt x="1860" y="2100"/>
                  </a:lnTo>
                  <a:lnTo>
                    <a:pt x="1898" y="2070"/>
                  </a:lnTo>
                  <a:lnTo>
                    <a:pt x="1934" y="2036"/>
                  </a:lnTo>
                  <a:lnTo>
                    <a:pt x="1970" y="2000"/>
                  </a:lnTo>
                  <a:lnTo>
                    <a:pt x="1970" y="2000"/>
                  </a:lnTo>
                  <a:lnTo>
                    <a:pt x="2004" y="1962"/>
                  </a:lnTo>
                  <a:lnTo>
                    <a:pt x="2036" y="1924"/>
                  </a:lnTo>
                  <a:lnTo>
                    <a:pt x="2066" y="1884"/>
                  </a:lnTo>
                  <a:lnTo>
                    <a:pt x="2092" y="1844"/>
                  </a:lnTo>
                  <a:lnTo>
                    <a:pt x="2118" y="1802"/>
                  </a:lnTo>
                  <a:lnTo>
                    <a:pt x="2140" y="1760"/>
                  </a:lnTo>
                  <a:lnTo>
                    <a:pt x="2162" y="1716"/>
                  </a:lnTo>
                  <a:lnTo>
                    <a:pt x="2180" y="1670"/>
                  </a:lnTo>
                  <a:lnTo>
                    <a:pt x="2196" y="1626"/>
                  </a:lnTo>
                  <a:lnTo>
                    <a:pt x="2210" y="1578"/>
                  </a:lnTo>
                  <a:lnTo>
                    <a:pt x="2222" y="1530"/>
                  </a:lnTo>
                  <a:lnTo>
                    <a:pt x="2232" y="1482"/>
                  </a:lnTo>
                  <a:lnTo>
                    <a:pt x="2240" y="1432"/>
                  </a:lnTo>
                  <a:lnTo>
                    <a:pt x="2246" y="1380"/>
                  </a:lnTo>
                  <a:lnTo>
                    <a:pt x="2250" y="1328"/>
                  </a:lnTo>
                  <a:lnTo>
                    <a:pt x="2250" y="1276"/>
                  </a:lnTo>
                  <a:lnTo>
                    <a:pt x="2250" y="1276"/>
                  </a:lnTo>
                  <a:lnTo>
                    <a:pt x="2250" y="1226"/>
                  </a:lnTo>
                  <a:lnTo>
                    <a:pt x="2246" y="1176"/>
                  </a:lnTo>
                  <a:lnTo>
                    <a:pt x="2240" y="1128"/>
                  </a:lnTo>
                  <a:lnTo>
                    <a:pt x="2232" y="1080"/>
                  </a:lnTo>
                  <a:lnTo>
                    <a:pt x="2222" y="1034"/>
                  </a:lnTo>
                  <a:lnTo>
                    <a:pt x="2210" y="988"/>
                  </a:lnTo>
                  <a:lnTo>
                    <a:pt x="2196" y="942"/>
                  </a:lnTo>
                  <a:lnTo>
                    <a:pt x="2180" y="898"/>
                  </a:lnTo>
                  <a:lnTo>
                    <a:pt x="2160" y="856"/>
                  </a:lnTo>
                  <a:lnTo>
                    <a:pt x="2140" y="814"/>
                  </a:lnTo>
                  <a:lnTo>
                    <a:pt x="2116" y="772"/>
                  </a:lnTo>
                  <a:lnTo>
                    <a:pt x="2090" y="732"/>
                  </a:lnTo>
                  <a:lnTo>
                    <a:pt x="2062" y="692"/>
                  </a:lnTo>
                  <a:lnTo>
                    <a:pt x="2032" y="654"/>
                  </a:lnTo>
                  <a:lnTo>
                    <a:pt x="2000" y="616"/>
                  </a:lnTo>
                  <a:lnTo>
                    <a:pt x="1966" y="578"/>
                  </a:lnTo>
                  <a:lnTo>
                    <a:pt x="1966" y="578"/>
                  </a:lnTo>
                  <a:lnTo>
                    <a:pt x="1930" y="544"/>
                  </a:lnTo>
                  <a:lnTo>
                    <a:pt x="1892" y="510"/>
                  </a:lnTo>
                  <a:lnTo>
                    <a:pt x="1856" y="480"/>
                  </a:lnTo>
                  <a:lnTo>
                    <a:pt x="1816" y="450"/>
                  </a:lnTo>
                  <a:lnTo>
                    <a:pt x="1778" y="424"/>
                  </a:lnTo>
                  <a:lnTo>
                    <a:pt x="1736" y="400"/>
                  </a:lnTo>
                  <a:lnTo>
                    <a:pt x="1696" y="380"/>
                  </a:lnTo>
                  <a:lnTo>
                    <a:pt x="1654" y="360"/>
                  </a:lnTo>
                  <a:lnTo>
                    <a:pt x="1612" y="342"/>
                  </a:lnTo>
                  <a:lnTo>
                    <a:pt x="1568" y="328"/>
                  </a:lnTo>
                  <a:lnTo>
                    <a:pt x="1524" y="316"/>
                  </a:lnTo>
                  <a:lnTo>
                    <a:pt x="1478" y="306"/>
                  </a:lnTo>
                  <a:lnTo>
                    <a:pt x="1432" y="298"/>
                  </a:lnTo>
                  <a:lnTo>
                    <a:pt x="1384" y="292"/>
                  </a:lnTo>
                  <a:lnTo>
                    <a:pt x="1336" y="288"/>
                  </a:lnTo>
                  <a:lnTo>
                    <a:pt x="1288" y="288"/>
                  </a:lnTo>
                  <a:lnTo>
                    <a:pt x="1288" y="288"/>
                  </a:lnTo>
                  <a:lnTo>
                    <a:pt x="1238" y="288"/>
                  </a:lnTo>
                  <a:lnTo>
                    <a:pt x="1188" y="292"/>
                  </a:lnTo>
                  <a:lnTo>
                    <a:pt x="1140" y="298"/>
                  </a:lnTo>
                  <a:lnTo>
                    <a:pt x="1092" y="306"/>
                  </a:lnTo>
                  <a:lnTo>
                    <a:pt x="1046" y="316"/>
                  </a:lnTo>
                  <a:lnTo>
                    <a:pt x="1000" y="328"/>
                  </a:lnTo>
                  <a:lnTo>
                    <a:pt x="956" y="344"/>
                  </a:lnTo>
                  <a:lnTo>
                    <a:pt x="912" y="362"/>
                  </a:lnTo>
                  <a:lnTo>
                    <a:pt x="870" y="380"/>
                  </a:lnTo>
                  <a:lnTo>
                    <a:pt x="828" y="402"/>
                  </a:lnTo>
                  <a:lnTo>
                    <a:pt x="788" y="426"/>
                  </a:lnTo>
                  <a:lnTo>
                    <a:pt x="748" y="454"/>
                  </a:lnTo>
                  <a:lnTo>
                    <a:pt x="708" y="482"/>
                  </a:lnTo>
                  <a:lnTo>
                    <a:pt x="670" y="514"/>
                  </a:lnTo>
                  <a:lnTo>
                    <a:pt x="634" y="548"/>
                  </a:lnTo>
                  <a:lnTo>
                    <a:pt x="598" y="582"/>
                  </a:lnTo>
                  <a:lnTo>
                    <a:pt x="598" y="582"/>
                  </a:lnTo>
                  <a:lnTo>
                    <a:pt x="562" y="620"/>
                  </a:lnTo>
                  <a:lnTo>
                    <a:pt x="530" y="658"/>
                  </a:lnTo>
                  <a:lnTo>
                    <a:pt x="500" y="698"/>
                  </a:lnTo>
                  <a:lnTo>
                    <a:pt x="472" y="738"/>
                  </a:lnTo>
                  <a:lnTo>
                    <a:pt x="448" y="780"/>
                  </a:lnTo>
                  <a:lnTo>
                    <a:pt x="424" y="822"/>
                  </a:lnTo>
                  <a:lnTo>
                    <a:pt x="402" y="866"/>
                  </a:lnTo>
                  <a:lnTo>
                    <a:pt x="384" y="910"/>
                  </a:lnTo>
                  <a:lnTo>
                    <a:pt x="368" y="956"/>
                  </a:lnTo>
                  <a:lnTo>
                    <a:pt x="352" y="1002"/>
                  </a:lnTo>
                  <a:lnTo>
                    <a:pt x="340" y="1050"/>
                  </a:lnTo>
                  <a:lnTo>
                    <a:pt x="330" y="1098"/>
                  </a:lnTo>
                  <a:lnTo>
                    <a:pt x="322" y="1148"/>
                  </a:lnTo>
                  <a:lnTo>
                    <a:pt x="318" y="1198"/>
                  </a:lnTo>
                  <a:lnTo>
                    <a:pt x="314" y="1250"/>
                  </a:lnTo>
                  <a:lnTo>
                    <a:pt x="312" y="1302"/>
                  </a:lnTo>
                  <a:lnTo>
                    <a:pt x="312" y="130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78" name="Freeform 15"/>
            <p:cNvSpPr>
              <a:spLocks/>
            </p:cNvSpPr>
            <p:nvPr userDrawn="1"/>
          </p:nvSpPr>
          <p:spPr bwMode="auto">
            <a:xfrm>
              <a:off x="4799004" y="3213100"/>
              <a:ext cx="190592" cy="251107"/>
            </a:xfrm>
            <a:custGeom>
              <a:avLst/>
              <a:gdLst>
                <a:gd name="T0" fmla="*/ 2048 w 2570"/>
                <a:gd name="T1" fmla="*/ 3136 h 3386"/>
                <a:gd name="T2" fmla="*/ 1780 w 2570"/>
                <a:gd name="T3" fmla="*/ 3292 h 3386"/>
                <a:gd name="T4" fmla="*/ 1480 w 2570"/>
                <a:gd name="T5" fmla="*/ 3372 h 3386"/>
                <a:gd name="T6" fmla="*/ 1218 w 2570"/>
                <a:gd name="T7" fmla="*/ 3384 h 3386"/>
                <a:gd name="T8" fmla="*/ 906 w 2570"/>
                <a:gd name="T9" fmla="*/ 3332 h 3386"/>
                <a:gd name="T10" fmla="*/ 626 w 2570"/>
                <a:gd name="T11" fmla="*/ 3208 h 3386"/>
                <a:gd name="T12" fmla="*/ 376 w 2570"/>
                <a:gd name="T13" fmla="*/ 3008 h 3386"/>
                <a:gd name="T14" fmla="*/ 212 w 2570"/>
                <a:gd name="T15" fmla="*/ 2810 h 3386"/>
                <a:gd name="T16" fmla="*/ 72 w 2570"/>
                <a:gd name="T17" fmla="*/ 2532 h 3386"/>
                <a:gd name="T18" fmla="*/ 6 w 2570"/>
                <a:gd name="T19" fmla="*/ 2224 h 3386"/>
                <a:gd name="T20" fmla="*/ 0 w 2570"/>
                <a:gd name="T21" fmla="*/ 132 h 3386"/>
                <a:gd name="T22" fmla="*/ 24 w 2570"/>
                <a:gd name="T23" fmla="*/ 68 h 3386"/>
                <a:gd name="T24" fmla="*/ 64 w 2570"/>
                <a:gd name="T25" fmla="*/ 24 h 3386"/>
                <a:gd name="T26" fmla="*/ 130 w 2570"/>
                <a:gd name="T27" fmla="*/ 0 h 3386"/>
                <a:gd name="T28" fmla="*/ 190 w 2570"/>
                <a:gd name="T29" fmla="*/ 6 h 3386"/>
                <a:gd name="T30" fmla="*/ 250 w 2570"/>
                <a:gd name="T31" fmla="*/ 44 h 3386"/>
                <a:gd name="T32" fmla="*/ 282 w 2570"/>
                <a:gd name="T33" fmla="*/ 92 h 3386"/>
                <a:gd name="T34" fmla="*/ 292 w 2570"/>
                <a:gd name="T35" fmla="*/ 2080 h 3386"/>
                <a:gd name="T36" fmla="*/ 292 w 2570"/>
                <a:gd name="T37" fmla="*/ 2194 h 3386"/>
                <a:gd name="T38" fmla="*/ 342 w 2570"/>
                <a:gd name="T39" fmla="*/ 2432 h 3386"/>
                <a:gd name="T40" fmla="*/ 450 w 2570"/>
                <a:gd name="T41" fmla="*/ 2646 h 3386"/>
                <a:gd name="T42" fmla="*/ 578 w 2570"/>
                <a:gd name="T43" fmla="*/ 2800 h 3386"/>
                <a:gd name="T44" fmla="*/ 772 w 2570"/>
                <a:gd name="T45" fmla="*/ 2956 h 3386"/>
                <a:gd name="T46" fmla="*/ 990 w 2570"/>
                <a:gd name="T47" fmla="*/ 3054 h 3386"/>
                <a:gd name="T48" fmla="*/ 1234 w 2570"/>
                <a:gd name="T49" fmla="*/ 3094 h 3386"/>
                <a:gd name="T50" fmla="*/ 1434 w 2570"/>
                <a:gd name="T51" fmla="*/ 3084 h 3386"/>
                <a:gd name="T52" fmla="*/ 1666 w 2570"/>
                <a:gd name="T53" fmla="*/ 3020 h 3386"/>
                <a:gd name="T54" fmla="*/ 1874 w 2570"/>
                <a:gd name="T55" fmla="*/ 2900 h 3386"/>
                <a:gd name="T56" fmla="*/ 2022 w 2570"/>
                <a:gd name="T57" fmla="*/ 2764 h 3386"/>
                <a:gd name="T58" fmla="*/ 2164 w 2570"/>
                <a:gd name="T59" fmla="*/ 2564 h 3386"/>
                <a:gd name="T60" fmla="*/ 2250 w 2570"/>
                <a:gd name="T61" fmla="*/ 2340 h 3386"/>
                <a:gd name="T62" fmla="*/ 2278 w 2570"/>
                <a:gd name="T63" fmla="*/ 2092 h 3386"/>
                <a:gd name="T64" fmla="*/ 2260 w 2570"/>
                <a:gd name="T65" fmla="*/ 1892 h 3386"/>
                <a:gd name="T66" fmla="*/ 2186 w 2570"/>
                <a:gd name="T67" fmla="*/ 1664 h 3386"/>
                <a:gd name="T68" fmla="*/ 2054 w 2570"/>
                <a:gd name="T69" fmla="*/ 1460 h 3386"/>
                <a:gd name="T70" fmla="*/ 1912 w 2570"/>
                <a:gd name="T71" fmla="*/ 1316 h 3386"/>
                <a:gd name="T72" fmla="*/ 1708 w 2570"/>
                <a:gd name="T73" fmla="*/ 1184 h 3386"/>
                <a:gd name="T74" fmla="*/ 1482 w 2570"/>
                <a:gd name="T75" fmla="*/ 1108 h 3386"/>
                <a:gd name="T76" fmla="*/ 1284 w 2570"/>
                <a:gd name="T77" fmla="*/ 1090 h 3386"/>
                <a:gd name="T78" fmla="*/ 1008 w 2570"/>
                <a:gd name="T79" fmla="*/ 1130 h 3386"/>
                <a:gd name="T80" fmla="*/ 802 w 2570"/>
                <a:gd name="T81" fmla="*/ 1218 h 3386"/>
                <a:gd name="T82" fmla="*/ 582 w 2570"/>
                <a:gd name="T83" fmla="*/ 1384 h 3386"/>
                <a:gd name="T84" fmla="*/ 552 w 2570"/>
                <a:gd name="T85" fmla="*/ 1032 h 3386"/>
                <a:gd name="T86" fmla="*/ 780 w 2570"/>
                <a:gd name="T87" fmla="*/ 902 h 3386"/>
                <a:gd name="T88" fmla="*/ 1024 w 2570"/>
                <a:gd name="T89" fmla="*/ 824 h 3386"/>
                <a:gd name="T90" fmla="*/ 1284 w 2570"/>
                <a:gd name="T91" fmla="*/ 798 h 3386"/>
                <a:gd name="T92" fmla="*/ 1542 w 2570"/>
                <a:gd name="T93" fmla="*/ 822 h 3386"/>
                <a:gd name="T94" fmla="*/ 1836 w 2570"/>
                <a:gd name="T95" fmla="*/ 918 h 3386"/>
                <a:gd name="T96" fmla="*/ 2098 w 2570"/>
                <a:gd name="T97" fmla="*/ 1088 h 3386"/>
                <a:gd name="T98" fmla="*/ 2282 w 2570"/>
                <a:gd name="T99" fmla="*/ 1274 h 3386"/>
                <a:gd name="T100" fmla="*/ 2450 w 2570"/>
                <a:gd name="T101" fmla="*/ 1538 h 3386"/>
                <a:gd name="T102" fmla="*/ 2546 w 2570"/>
                <a:gd name="T103" fmla="*/ 1834 h 3386"/>
                <a:gd name="T104" fmla="*/ 2570 w 2570"/>
                <a:gd name="T105" fmla="*/ 2092 h 3386"/>
                <a:gd name="T106" fmla="*/ 2532 w 2570"/>
                <a:gd name="T107" fmla="*/ 2414 h 3386"/>
                <a:gd name="T108" fmla="*/ 2422 w 2570"/>
                <a:gd name="T109" fmla="*/ 2702 h 3386"/>
                <a:gd name="T110" fmla="*/ 2240 w 2570"/>
                <a:gd name="T111" fmla="*/ 2960 h 3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70" h="3386">
                  <a:moveTo>
                    <a:pt x="2194" y="3008"/>
                  </a:moveTo>
                  <a:lnTo>
                    <a:pt x="2194" y="3008"/>
                  </a:lnTo>
                  <a:lnTo>
                    <a:pt x="2146" y="3054"/>
                  </a:lnTo>
                  <a:lnTo>
                    <a:pt x="2098" y="3096"/>
                  </a:lnTo>
                  <a:lnTo>
                    <a:pt x="2048" y="3136"/>
                  </a:lnTo>
                  <a:lnTo>
                    <a:pt x="1996" y="3174"/>
                  </a:lnTo>
                  <a:lnTo>
                    <a:pt x="1944" y="3208"/>
                  </a:lnTo>
                  <a:lnTo>
                    <a:pt x="1890" y="3238"/>
                  </a:lnTo>
                  <a:lnTo>
                    <a:pt x="1836" y="3266"/>
                  </a:lnTo>
                  <a:lnTo>
                    <a:pt x="1780" y="3292"/>
                  </a:lnTo>
                  <a:lnTo>
                    <a:pt x="1722" y="3314"/>
                  </a:lnTo>
                  <a:lnTo>
                    <a:pt x="1662" y="3332"/>
                  </a:lnTo>
                  <a:lnTo>
                    <a:pt x="1602" y="3348"/>
                  </a:lnTo>
                  <a:lnTo>
                    <a:pt x="1542" y="3362"/>
                  </a:lnTo>
                  <a:lnTo>
                    <a:pt x="1480" y="3372"/>
                  </a:lnTo>
                  <a:lnTo>
                    <a:pt x="1416" y="3380"/>
                  </a:lnTo>
                  <a:lnTo>
                    <a:pt x="1350" y="3384"/>
                  </a:lnTo>
                  <a:lnTo>
                    <a:pt x="1284" y="3386"/>
                  </a:lnTo>
                  <a:lnTo>
                    <a:pt x="1284" y="3386"/>
                  </a:lnTo>
                  <a:lnTo>
                    <a:pt x="1218" y="3384"/>
                  </a:lnTo>
                  <a:lnTo>
                    <a:pt x="1154" y="3380"/>
                  </a:lnTo>
                  <a:lnTo>
                    <a:pt x="1090" y="3372"/>
                  </a:lnTo>
                  <a:lnTo>
                    <a:pt x="1028" y="3362"/>
                  </a:lnTo>
                  <a:lnTo>
                    <a:pt x="966" y="3348"/>
                  </a:lnTo>
                  <a:lnTo>
                    <a:pt x="906" y="3332"/>
                  </a:lnTo>
                  <a:lnTo>
                    <a:pt x="848" y="3314"/>
                  </a:lnTo>
                  <a:lnTo>
                    <a:pt x="790" y="3292"/>
                  </a:lnTo>
                  <a:lnTo>
                    <a:pt x="734" y="3266"/>
                  </a:lnTo>
                  <a:lnTo>
                    <a:pt x="680" y="3238"/>
                  </a:lnTo>
                  <a:lnTo>
                    <a:pt x="626" y="3208"/>
                  </a:lnTo>
                  <a:lnTo>
                    <a:pt x="572" y="3174"/>
                  </a:lnTo>
                  <a:lnTo>
                    <a:pt x="522" y="3136"/>
                  </a:lnTo>
                  <a:lnTo>
                    <a:pt x="472" y="3096"/>
                  </a:lnTo>
                  <a:lnTo>
                    <a:pt x="422" y="3054"/>
                  </a:lnTo>
                  <a:lnTo>
                    <a:pt x="376" y="3008"/>
                  </a:lnTo>
                  <a:lnTo>
                    <a:pt x="376" y="3008"/>
                  </a:lnTo>
                  <a:lnTo>
                    <a:pt x="330" y="2960"/>
                  </a:lnTo>
                  <a:lnTo>
                    <a:pt x="288" y="2912"/>
                  </a:lnTo>
                  <a:lnTo>
                    <a:pt x="248" y="2862"/>
                  </a:lnTo>
                  <a:lnTo>
                    <a:pt x="212" y="2810"/>
                  </a:lnTo>
                  <a:lnTo>
                    <a:pt x="178" y="2756"/>
                  </a:lnTo>
                  <a:lnTo>
                    <a:pt x="146" y="2702"/>
                  </a:lnTo>
                  <a:lnTo>
                    <a:pt x="118" y="2648"/>
                  </a:lnTo>
                  <a:lnTo>
                    <a:pt x="94" y="2590"/>
                  </a:lnTo>
                  <a:lnTo>
                    <a:pt x="72" y="2532"/>
                  </a:lnTo>
                  <a:lnTo>
                    <a:pt x="52" y="2474"/>
                  </a:lnTo>
                  <a:lnTo>
                    <a:pt x="36" y="2414"/>
                  </a:lnTo>
                  <a:lnTo>
                    <a:pt x="24" y="2352"/>
                  </a:lnTo>
                  <a:lnTo>
                    <a:pt x="14" y="2288"/>
                  </a:lnTo>
                  <a:lnTo>
                    <a:pt x="6" y="2224"/>
                  </a:lnTo>
                  <a:lnTo>
                    <a:pt x="2" y="2160"/>
                  </a:lnTo>
                  <a:lnTo>
                    <a:pt x="0" y="2092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0" y="132"/>
                  </a:lnTo>
                  <a:lnTo>
                    <a:pt x="2" y="118"/>
                  </a:lnTo>
                  <a:lnTo>
                    <a:pt x="6" y="104"/>
                  </a:lnTo>
                  <a:lnTo>
                    <a:pt x="10" y="92"/>
                  </a:lnTo>
                  <a:lnTo>
                    <a:pt x="16" y="80"/>
                  </a:lnTo>
                  <a:lnTo>
                    <a:pt x="24" y="68"/>
                  </a:lnTo>
                  <a:lnTo>
                    <a:pt x="32" y="56"/>
                  </a:lnTo>
                  <a:lnTo>
                    <a:pt x="42" y="44"/>
                  </a:lnTo>
                  <a:lnTo>
                    <a:pt x="42" y="44"/>
                  </a:lnTo>
                  <a:lnTo>
                    <a:pt x="52" y="34"/>
                  </a:lnTo>
                  <a:lnTo>
                    <a:pt x="64" y="24"/>
                  </a:lnTo>
                  <a:lnTo>
                    <a:pt x="76" y="18"/>
                  </a:lnTo>
                  <a:lnTo>
                    <a:pt x="88" y="12"/>
                  </a:lnTo>
                  <a:lnTo>
                    <a:pt x="102" y="6"/>
                  </a:lnTo>
                  <a:lnTo>
                    <a:pt x="116" y="2"/>
                  </a:lnTo>
                  <a:lnTo>
                    <a:pt x="130" y="0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60" y="0"/>
                  </a:lnTo>
                  <a:lnTo>
                    <a:pt x="176" y="2"/>
                  </a:lnTo>
                  <a:lnTo>
                    <a:pt x="190" y="6"/>
                  </a:lnTo>
                  <a:lnTo>
                    <a:pt x="202" y="12"/>
                  </a:lnTo>
                  <a:lnTo>
                    <a:pt x="216" y="18"/>
                  </a:lnTo>
                  <a:lnTo>
                    <a:pt x="228" y="24"/>
                  </a:lnTo>
                  <a:lnTo>
                    <a:pt x="238" y="34"/>
                  </a:lnTo>
                  <a:lnTo>
                    <a:pt x="250" y="44"/>
                  </a:lnTo>
                  <a:lnTo>
                    <a:pt x="250" y="44"/>
                  </a:lnTo>
                  <a:lnTo>
                    <a:pt x="260" y="56"/>
                  </a:lnTo>
                  <a:lnTo>
                    <a:pt x="268" y="68"/>
                  </a:lnTo>
                  <a:lnTo>
                    <a:pt x="276" y="80"/>
                  </a:lnTo>
                  <a:lnTo>
                    <a:pt x="282" y="92"/>
                  </a:lnTo>
                  <a:lnTo>
                    <a:pt x="286" y="104"/>
                  </a:lnTo>
                  <a:lnTo>
                    <a:pt x="288" y="118"/>
                  </a:lnTo>
                  <a:lnTo>
                    <a:pt x="290" y="132"/>
                  </a:lnTo>
                  <a:lnTo>
                    <a:pt x="292" y="146"/>
                  </a:lnTo>
                  <a:lnTo>
                    <a:pt x="292" y="2080"/>
                  </a:lnTo>
                  <a:lnTo>
                    <a:pt x="292" y="2092"/>
                  </a:lnTo>
                  <a:lnTo>
                    <a:pt x="288" y="2092"/>
                  </a:lnTo>
                  <a:lnTo>
                    <a:pt x="288" y="2092"/>
                  </a:lnTo>
                  <a:lnTo>
                    <a:pt x="288" y="2144"/>
                  </a:lnTo>
                  <a:lnTo>
                    <a:pt x="292" y="2194"/>
                  </a:lnTo>
                  <a:lnTo>
                    <a:pt x="298" y="2244"/>
                  </a:lnTo>
                  <a:lnTo>
                    <a:pt x="306" y="2292"/>
                  </a:lnTo>
                  <a:lnTo>
                    <a:pt x="316" y="2340"/>
                  </a:lnTo>
                  <a:lnTo>
                    <a:pt x="328" y="2386"/>
                  </a:lnTo>
                  <a:lnTo>
                    <a:pt x="342" y="2432"/>
                  </a:lnTo>
                  <a:lnTo>
                    <a:pt x="360" y="2476"/>
                  </a:lnTo>
                  <a:lnTo>
                    <a:pt x="380" y="2520"/>
                  </a:lnTo>
                  <a:lnTo>
                    <a:pt x="400" y="2564"/>
                  </a:lnTo>
                  <a:lnTo>
                    <a:pt x="424" y="2606"/>
                  </a:lnTo>
                  <a:lnTo>
                    <a:pt x="450" y="2646"/>
                  </a:lnTo>
                  <a:lnTo>
                    <a:pt x="480" y="2686"/>
                  </a:lnTo>
                  <a:lnTo>
                    <a:pt x="510" y="2726"/>
                  </a:lnTo>
                  <a:lnTo>
                    <a:pt x="544" y="2764"/>
                  </a:lnTo>
                  <a:lnTo>
                    <a:pt x="578" y="2800"/>
                  </a:lnTo>
                  <a:lnTo>
                    <a:pt x="578" y="2800"/>
                  </a:lnTo>
                  <a:lnTo>
                    <a:pt x="616" y="2836"/>
                  </a:lnTo>
                  <a:lnTo>
                    <a:pt x="654" y="2870"/>
                  </a:lnTo>
                  <a:lnTo>
                    <a:pt x="692" y="2900"/>
                  </a:lnTo>
                  <a:lnTo>
                    <a:pt x="732" y="2930"/>
                  </a:lnTo>
                  <a:lnTo>
                    <a:pt x="772" y="2956"/>
                  </a:lnTo>
                  <a:lnTo>
                    <a:pt x="814" y="2980"/>
                  </a:lnTo>
                  <a:lnTo>
                    <a:pt x="856" y="3002"/>
                  </a:lnTo>
                  <a:lnTo>
                    <a:pt x="900" y="3020"/>
                  </a:lnTo>
                  <a:lnTo>
                    <a:pt x="946" y="3038"/>
                  </a:lnTo>
                  <a:lnTo>
                    <a:pt x="990" y="3054"/>
                  </a:lnTo>
                  <a:lnTo>
                    <a:pt x="1038" y="3066"/>
                  </a:lnTo>
                  <a:lnTo>
                    <a:pt x="1084" y="3076"/>
                  </a:lnTo>
                  <a:lnTo>
                    <a:pt x="1134" y="3084"/>
                  </a:lnTo>
                  <a:lnTo>
                    <a:pt x="1182" y="3090"/>
                  </a:lnTo>
                  <a:lnTo>
                    <a:pt x="1234" y="3094"/>
                  </a:lnTo>
                  <a:lnTo>
                    <a:pt x="1284" y="3094"/>
                  </a:lnTo>
                  <a:lnTo>
                    <a:pt x="1284" y="3094"/>
                  </a:lnTo>
                  <a:lnTo>
                    <a:pt x="1336" y="3094"/>
                  </a:lnTo>
                  <a:lnTo>
                    <a:pt x="1386" y="3090"/>
                  </a:lnTo>
                  <a:lnTo>
                    <a:pt x="1434" y="3084"/>
                  </a:lnTo>
                  <a:lnTo>
                    <a:pt x="1482" y="3076"/>
                  </a:lnTo>
                  <a:lnTo>
                    <a:pt x="1530" y="3066"/>
                  </a:lnTo>
                  <a:lnTo>
                    <a:pt x="1576" y="3054"/>
                  </a:lnTo>
                  <a:lnTo>
                    <a:pt x="1622" y="3038"/>
                  </a:lnTo>
                  <a:lnTo>
                    <a:pt x="1666" y="3020"/>
                  </a:lnTo>
                  <a:lnTo>
                    <a:pt x="1708" y="3002"/>
                  </a:lnTo>
                  <a:lnTo>
                    <a:pt x="1752" y="2980"/>
                  </a:lnTo>
                  <a:lnTo>
                    <a:pt x="1792" y="2956"/>
                  </a:lnTo>
                  <a:lnTo>
                    <a:pt x="1834" y="2930"/>
                  </a:lnTo>
                  <a:lnTo>
                    <a:pt x="1874" y="2900"/>
                  </a:lnTo>
                  <a:lnTo>
                    <a:pt x="1912" y="2870"/>
                  </a:lnTo>
                  <a:lnTo>
                    <a:pt x="1950" y="2836"/>
                  </a:lnTo>
                  <a:lnTo>
                    <a:pt x="1986" y="2800"/>
                  </a:lnTo>
                  <a:lnTo>
                    <a:pt x="1986" y="2800"/>
                  </a:lnTo>
                  <a:lnTo>
                    <a:pt x="2022" y="2764"/>
                  </a:lnTo>
                  <a:lnTo>
                    <a:pt x="2054" y="2726"/>
                  </a:lnTo>
                  <a:lnTo>
                    <a:pt x="2086" y="2686"/>
                  </a:lnTo>
                  <a:lnTo>
                    <a:pt x="2114" y="2646"/>
                  </a:lnTo>
                  <a:lnTo>
                    <a:pt x="2140" y="2606"/>
                  </a:lnTo>
                  <a:lnTo>
                    <a:pt x="2164" y="2564"/>
                  </a:lnTo>
                  <a:lnTo>
                    <a:pt x="2186" y="2520"/>
                  </a:lnTo>
                  <a:lnTo>
                    <a:pt x="2206" y="2476"/>
                  </a:lnTo>
                  <a:lnTo>
                    <a:pt x="2222" y="2432"/>
                  </a:lnTo>
                  <a:lnTo>
                    <a:pt x="2236" y="2386"/>
                  </a:lnTo>
                  <a:lnTo>
                    <a:pt x="2250" y="2340"/>
                  </a:lnTo>
                  <a:lnTo>
                    <a:pt x="2260" y="2292"/>
                  </a:lnTo>
                  <a:lnTo>
                    <a:pt x="2268" y="2244"/>
                  </a:lnTo>
                  <a:lnTo>
                    <a:pt x="2274" y="2194"/>
                  </a:lnTo>
                  <a:lnTo>
                    <a:pt x="2276" y="2144"/>
                  </a:lnTo>
                  <a:lnTo>
                    <a:pt x="2278" y="2092"/>
                  </a:lnTo>
                  <a:lnTo>
                    <a:pt x="2278" y="2092"/>
                  </a:lnTo>
                  <a:lnTo>
                    <a:pt x="2276" y="2040"/>
                  </a:lnTo>
                  <a:lnTo>
                    <a:pt x="2274" y="1990"/>
                  </a:lnTo>
                  <a:lnTo>
                    <a:pt x="2268" y="1942"/>
                  </a:lnTo>
                  <a:lnTo>
                    <a:pt x="2260" y="1892"/>
                  </a:lnTo>
                  <a:lnTo>
                    <a:pt x="2250" y="1844"/>
                  </a:lnTo>
                  <a:lnTo>
                    <a:pt x="2236" y="1798"/>
                  </a:lnTo>
                  <a:lnTo>
                    <a:pt x="2222" y="1752"/>
                  </a:lnTo>
                  <a:lnTo>
                    <a:pt x="2206" y="1708"/>
                  </a:lnTo>
                  <a:lnTo>
                    <a:pt x="2186" y="1664"/>
                  </a:lnTo>
                  <a:lnTo>
                    <a:pt x="2164" y="1622"/>
                  </a:lnTo>
                  <a:lnTo>
                    <a:pt x="2140" y="1580"/>
                  </a:lnTo>
                  <a:lnTo>
                    <a:pt x="2114" y="1538"/>
                  </a:lnTo>
                  <a:lnTo>
                    <a:pt x="2086" y="1498"/>
                  </a:lnTo>
                  <a:lnTo>
                    <a:pt x="2054" y="1460"/>
                  </a:lnTo>
                  <a:lnTo>
                    <a:pt x="2022" y="1422"/>
                  </a:lnTo>
                  <a:lnTo>
                    <a:pt x="1986" y="1384"/>
                  </a:lnTo>
                  <a:lnTo>
                    <a:pt x="1986" y="1384"/>
                  </a:lnTo>
                  <a:lnTo>
                    <a:pt x="1950" y="1348"/>
                  </a:lnTo>
                  <a:lnTo>
                    <a:pt x="1912" y="1316"/>
                  </a:lnTo>
                  <a:lnTo>
                    <a:pt x="1874" y="1284"/>
                  </a:lnTo>
                  <a:lnTo>
                    <a:pt x="1834" y="1256"/>
                  </a:lnTo>
                  <a:lnTo>
                    <a:pt x="1792" y="1230"/>
                  </a:lnTo>
                  <a:lnTo>
                    <a:pt x="1752" y="1204"/>
                  </a:lnTo>
                  <a:lnTo>
                    <a:pt x="1708" y="1184"/>
                  </a:lnTo>
                  <a:lnTo>
                    <a:pt x="1666" y="1164"/>
                  </a:lnTo>
                  <a:lnTo>
                    <a:pt x="1622" y="1146"/>
                  </a:lnTo>
                  <a:lnTo>
                    <a:pt x="1576" y="1132"/>
                  </a:lnTo>
                  <a:lnTo>
                    <a:pt x="1530" y="1118"/>
                  </a:lnTo>
                  <a:lnTo>
                    <a:pt x="1482" y="1108"/>
                  </a:lnTo>
                  <a:lnTo>
                    <a:pt x="1434" y="1100"/>
                  </a:lnTo>
                  <a:lnTo>
                    <a:pt x="1386" y="1094"/>
                  </a:lnTo>
                  <a:lnTo>
                    <a:pt x="1336" y="1092"/>
                  </a:lnTo>
                  <a:lnTo>
                    <a:pt x="1284" y="1090"/>
                  </a:lnTo>
                  <a:lnTo>
                    <a:pt x="1284" y="1090"/>
                  </a:lnTo>
                  <a:lnTo>
                    <a:pt x="1228" y="1092"/>
                  </a:lnTo>
                  <a:lnTo>
                    <a:pt x="1172" y="1096"/>
                  </a:lnTo>
                  <a:lnTo>
                    <a:pt x="1116" y="1104"/>
                  </a:lnTo>
                  <a:lnTo>
                    <a:pt x="1062" y="1116"/>
                  </a:lnTo>
                  <a:lnTo>
                    <a:pt x="1008" y="1130"/>
                  </a:lnTo>
                  <a:lnTo>
                    <a:pt x="956" y="1148"/>
                  </a:lnTo>
                  <a:lnTo>
                    <a:pt x="904" y="1168"/>
                  </a:lnTo>
                  <a:lnTo>
                    <a:pt x="852" y="1192"/>
                  </a:lnTo>
                  <a:lnTo>
                    <a:pt x="852" y="1192"/>
                  </a:lnTo>
                  <a:lnTo>
                    <a:pt x="802" y="1218"/>
                  </a:lnTo>
                  <a:lnTo>
                    <a:pt x="754" y="1248"/>
                  </a:lnTo>
                  <a:lnTo>
                    <a:pt x="708" y="1278"/>
                  </a:lnTo>
                  <a:lnTo>
                    <a:pt x="664" y="1312"/>
                  </a:lnTo>
                  <a:lnTo>
                    <a:pt x="622" y="1346"/>
                  </a:lnTo>
                  <a:lnTo>
                    <a:pt x="582" y="1384"/>
                  </a:lnTo>
                  <a:lnTo>
                    <a:pt x="544" y="1424"/>
                  </a:lnTo>
                  <a:lnTo>
                    <a:pt x="508" y="1466"/>
                  </a:lnTo>
                  <a:lnTo>
                    <a:pt x="508" y="1064"/>
                  </a:lnTo>
                  <a:lnTo>
                    <a:pt x="508" y="1064"/>
                  </a:lnTo>
                  <a:lnTo>
                    <a:pt x="552" y="1032"/>
                  </a:lnTo>
                  <a:lnTo>
                    <a:pt x="596" y="1002"/>
                  </a:lnTo>
                  <a:lnTo>
                    <a:pt x="642" y="974"/>
                  </a:lnTo>
                  <a:lnTo>
                    <a:pt x="688" y="948"/>
                  </a:lnTo>
                  <a:lnTo>
                    <a:pt x="734" y="924"/>
                  </a:lnTo>
                  <a:lnTo>
                    <a:pt x="780" y="902"/>
                  </a:lnTo>
                  <a:lnTo>
                    <a:pt x="828" y="882"/>
                  </a:lnTo>
                  <a:lnTo>
                    <a:pt x="876" y="866"/>
                  </a:lnTo>
                  <a:lnTo>
                    <a:pt x="926" y="850"/>
                  </a:lnTo>
                  <a:lnTo>
                    <a:pt x="974" y="836"/>
                  </a:lnTo>
                  <a:lnTo>
                    <a:pt x="1024" y="824"/>
                  </a:lnTo>
                  <a:lnTo>
                    <a:pt x="1076" y="816"/>
                  </a:lnTo>
                  <a:lnTo>
                    <a:pt x="1126" y="808"/>
                  </a:lnTo>
                  <a:lnTo>
                    <a:pt x="1178" y="804"/>
                  </a:lnTo>
                  <a:lnTo>
                    <a:pt x="1232" y="800"/>
                  </a:lnTo>
                  <a:lnTo>
                    <a:pt x="1284" y="798"/>
                  </a:lnTo>
                  <a:lnTo>
                    <a:pt x="1284" y="798"/>
                  </a:lnTo>
                  <a:lnTo>
                    <a:pt x="1350" y="800"/>
                  </a:lnTo>
                  <a:lnTo>
                    <a:pt x="1416" y="804"/>
                  </a:lnTo>
                  <a:lnTo>
                    <a:pt x="1480" y="812"/>
                  </a:lnTo>
                  <a:lnTo>
                    <a:pt x="1542" y="822"/>
                  </a:lnTo>
                  <a:lnTo>
                    <a:pt x="1602" y="836"/>
                  </a:lnTo>
                  <a:lnTo>
                    <a:pt x="1662" y="852"/>
                  </a:lnTo>
                  <a:lnTo>
                    <a:pt x="1722" y="872"/>
                  </a:lnTo>
                  <a:lnTo>
                    <a:pt x="1780" y="894"/>
                  </a:lnTo>
                  <a:lnTo>
                    <a:pt x="1836" y="918"/>
                  </a:lnTo>
                  <a:lnTo>
                    <a:pt x="1890" y="946"/>
                  </a:lnTo>
                  <a:lnTo>
                    <a:pt x="1944" y="978"/>
                  </a:lnTo>
                  <a:lnTo>
                    <a:pt x="1996" y="1012"/>
                  </a:lnTo>
                  <a:lnTo>
                    <a:pt x="2048" y="1048"/>
                  </a:lnTo>
                  <a:lnTo>
                    <a:pt x="2098" y="1088"/>
                  </a:lnTo>
                  <a:lnTo>
                    <a:pt x="2146" y="1130"/>
                  </a:lnTo>
                  <a:lnTo>
                    <a:pt x="2194" y="1176"/>
                  </a:lnTo>
                  <a:lnTo>
                    <a:pt x="2194" y="1176"/>
                  </a:lnTo>
                  <a:lnTo>
                    <a:pt x="2240" y="1224"/>
                  </a:lnTo>
                  <a:lnTo>
                    <a:pt x="2282" y="1274"/>
                  </a:lnTo>
                  <a:lnTo>
                    <a:pt x="2322" y="1324"/>
                  </a:lnTo>
                  <a:lnTo>
                    <a:pt x="2358" y="1376"/>
                  </a:lnTo>
                  <a:lnTo>
                    <a:pt x="2392" y="1428"/>
                  </a:lnTo>
                  <a:lnTo>
                    <a:pt x="2422" y="1482"/>
                  </a:lnTo>
                  <a:lnTo>
                    <a:pt x="2450" y="1538"/>
                  </a:lnTo>
                  <a:lnTo>
                    <a:pt x="2476" y="1594"/>
                  </a:lnTo>
                  <a:lnTo>
                    <a:pt x="2498" y="1652"/>
                  </a:lnTo>
                  <a:lnTo>
                    <a:pt x="2516" y="1712"/>
                  </a:lnTo>
                  <a:lnTo>
                    <a:pt x="2532" y="1772"/>
                  </a:lnTo>
                  <a:lnTo>
                    <a:pt x="2546" y="1834"/>
                  </a:lnTo>
                  <a:lnTo>
                    <a:pt x="2556" y="1896"/>
                  </a:lnTo>
                  <a:lnTo>
                    <a:pt x="2564" y="1960"/>
                  </a:lnTo>
                  <a:lnTo>
                    <a:pt x="2568" y="2026"/>
                  </a:lnTo>
                  <a:lnTo>
                    <a:pt x="2570" y="2092"/>
                  </a:lnTo>
                  <a:lnTo>
                    <a:pt x="2570" y="2092"/>
                  </a:lnTo>
                  <a:lnTo>
                    <a:pt x="2568" y="2160"/>
                  </a:lnTo>
                  <a:lnTo>
                    <a:pt x="2564" y="2224"/>
                  </a:lnTo>
                  <a:lnTo>
                    <a:pt x="2556" y="2288"/>
                  </a:lnTo>
                  <a:lnTo>
                    <a:pt x="2546" y="2352"/>
                  </a:lnTo>
                  <a:lnTo>
                    <a:pt x="2532" y="2414"/>
                  </a:lnTo>
                  <a:lnTo>
                    <a:pt x="2516" y="2474"/>
                  </a:lnTo>
                  <a:lnTo>
                    <a:pt x="2498" y="2532"/>
                  </a:lnTo>
                  <a:lnTo>
                    <a:pt x="2476" y="2590"/>
                  </a:lnTo>
                  <a:lnTo>
                    <a:pt x="2450" y="2648"/>
                  </a:lnTo>
                  <a:lnTo>
                    <a:pt x="2422" y="2702"/>
                  </a:lnTo>
                  <a:lnTo>
                    <a:pt x="2392" y="2756"/>
                  </a:lnTo>
                  <a:lnTo>
                    <a:pt x="2358" y="2810"/>
                  </a:lnTo>
                  <a:lnTo>
                    <a:pt x="2322" y="2862"/>
                  </a:lnTo>
                  <a:lnTo>
                    <a:pt x="2282" y="2912"/>
                  </a:lnTo>
                  <a:lnTo>
                    <a:pt x="2240" y="2960"/>
                  </a:lnTo>
                  <a:lnTo>
                    <a:pt x="2194" y="3008"/>
                  </a:lnTo>
                  <a:lnTo>
                    <a:pt x="2194" y="300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79" name="Freeform 16"/>
            <p:cNvSpPr>
              <a:spLocks/>
            </p:cNvSpPr>
            <p:nvPr userDrawn="1"/>
          </p:nvSpPr>
          <p:spPr bwMode="auto">
            <a:xfrm>
              <a:off x="5002648" y="3271687"/>
              <a:ext cx="114207" cy="191185"/>
            </a:xfrm>
            <a:custGeom>
              <a:avLst/>
              <a:gdLst>
                <a:gd name="T0" fmla="*/ 1166 w 1540"/>
                <a:gd name="T1" fmla="*/ 1200 h 2578"/>
                <a:gd name="T2" fmla="*/ 1360 w 1540"/>
                <a:gd name="T3" fmla="*/ 1336 h 2578"/>
                <a:gd name="T4" fmla="*/ 1450 w 1540"/>
                <a:gd name="T5" fmla="*/ 1444 h 2578"/>
                <a:gd name="T6" fmla="*/ 1518 w 1540"/>
                <a:gd name="T7" fmla="*/ 1600 h 2578"/>
                <a:gd name="T8" fmla="*/ 1540 w 1540"/>
                <a:gd name="T9" fmla="*/ 1788 h 2578"/>
                <a:gd name="T10" fmla="*/ 1520 w 1540"/>
                <a:gd name="T11" fmla="*/ 1994 h 2578"/>
                <a:gd name="T12" fmla="*/ 1440 w 1540"/>
                <a:gd name="T13" fmla="*/ 2206 h 2578"/>
                <a:gd name="T14" fmla="*/ 1326 w 1540"/>
                <a:gd name="T15" fmla="*/ 2358 h 2578"/>
                <a:gd name="T16" fmla="*/ 1148 w 1540"/>
                <a:gd name="T17" fmla="*/ 2492 h 2578"/>
                <a:gd name="T18" fmla="*/ 934 w 1540"/>
                <a:gd name="T19" fmla="*/ 2564 h 2578"/>
                <a:gd name="T20" fmla="*/ 734 w 1540"/>
                <a:gd name="T21" fmla="*/ 2578 h 2578"/>
                <a:gd name="T22" fmla="*/ 520 w 1540"/>
                <a:gd name="T23" fmla="*/ 2544 h 2578"/>
                <a:gd name="T24" fmla="*/ 336 w 1540"/>
                <a:gd name="T25" fmla="*/ 2458 h 2578"/>
                <a:gd name="T26" fmla="*/ 204 w 1540"/>
                <a:gd name="T27" fmla="*/ 2350 h 2578"/>
                <a:gd name="T28" fmla="*/ 86 w 1540"/>
                <a:gd name="T29" fmla="*/ 2188 h 2578"/>
                <a:gd name="T30" fmla="*/ 16 w 1540"/>
                <a:gd name="T31" fmla="*/ 1992 h 2578"/>
                <a:gd name="T32" fmla="*/ 0 w 1540"/>
                <a:gd name="T33" fmla="*/ 1880 h 2578"/>
                <a:gd name="T34" fmla="*/ 28 w 1540"/>
                <a:gd name="T35" fmla="*/ 1788 h 2578"/>
                <a:gd name="T36" fmla="*/ 88 w 1540"/>
                <a:gd name="T37" fmla="*/ 1732 h 2578"/>
                <a:gd name="T38" fmla="*/ 168 w 1540"/>
                <a:gd name="T39" fmla="*/ 1712 h 2578"/>
                <a:gd name="T40" fmla="*/ 256 w 1540"/>
                <a:gd name="T41" fmla="*/ 1738 h 2578"/>
                <a:gd name="T42" fmla="*/ 310 w 1540"/>
                <a:gd name="T43" fmla="*/ 1796 h 2578"/>
                <a:gd name="T44" fmla="*/ 336 w 1540"/>
                <a:gd name="T45" fmla="*/ 1872 h 2578"/>
                <a:gd name="T46" fmla="*/ 426 w 1540"/>
                <a:gd name="T47" fmla="*/ 2118 h 2578"/>
                <a:gd name="T48" fmla="*/ 580 w 1540"/>
                <a:gd name="T49" fmla="*/ 2250 h 2578"/>
                <a:gd name="T50" fmla="*/ 782 w 1540"/>
                <a:gd name="T51" fmla="*/ 2296 h 2578"/>
                <a:gd name="T52" fmla="*/ 1026 w 1540"/>
                <a:gd name="T53" fmla="*/ 2224 h 2578"/>
                <a:gd name="T54" fmla="*/ 1176 w 1540"/>
                <a:gd name="T55" fmla="*/ 2064 h 2578"/>
                <a:gd name="T56" fmla="*/ 1226 w 1540"/>
                <a:gd name="T57" fmla="*/ 1862 h 2578"/>
                <a:gd name="T58" fmla="*/ 1164 w 1540"/>
                <a:gd name="T59" fmla="*/ 1640 h 2578"/>
                <a:gd name="T60" fmla="*/ 1012 w 1540"/>
                <a:gd name="T61" fmla="*/ 1500 h 2578"/>
                <a:gd name="T62" fmla="*/ 736 w 1540"/>
                <a:gd name="T63" fmla="*/ 1382 h 2578"/>
                <a:gd name="T64" fmla="*/ 318 w 1540"/>
                <a:gd name="T65" fmla="*/ 1184 h 2578"/>
                <a:gd name="T66" fmla="*/ 214 w 1540"/>
                <a:gd name="T67" fmla="*/ 1088 h 2578"/>
                <a:gd name="T68" fmla="*/ 130 w 1540"/>
                <a:gd name="T69" fmla="*/ 954 h 2578"/>
                <a:gd name="T70" fmla="*/ 88 w 1540"/>
                <a:gd name="T71" fmla="*/ 790 h 2578"/>
                <a:gd name="T72" fmla="*/ 90 w 1540"/>
                <a:gd name="T73" fmla="*/ 592 h 2578"/>
                <a:gd name="T74" fmla="*/ 148 w 1540"/>
                <a:gd name="T75" fmla="*/ 400 h 2578"/>
                <a:gd name="T76" fmla="*/ 262 w 1540"/>
                <a:gd name="T77" fmla="*/ 232 h 2578"/>
                <a:gd name="T78" fmla="*/ 394 w 1540"/>
                <a:gd name="T79" fmla="*/ 116 h 2578"/>
                <a:gd name="T80" fmla="*/ 572 w 1540"/>
                <a:gd name="T81" fmla="*/ 30 h 2578"/>
                <a:gd name="T82" fmla="*/ 772 w 1540"/>
                <a:gd name="T83" fmla="*/ 0 h 2578"/>
                <a:gd name="T84" fmla="*/ 1020 w 1540"/>
                <a:gd name="T85" fmla="*/ 40 h 2578"/>
                <a:gd name="T86" fmla="*/ 1230 w 1540"/>
                <a:gd name="T87" fmla="*/ 158 h 2578"/>
                <a:gd name="T88" fmla="*/ 1404 w 1540"/>
                <a:gd name="T89" fmla="*/ 380 h 2578"/>
                <a:gd name="T90" fmla="*/ 1430 w 1540"/>
                <a:gd name="T91" fmla="*/ 464 h 2578"/>
                <a:gd name="T92" fmla="*/ 1402 w 1540"/>
                <a:gd name="T93" fmla="*/ 554 h 2578"/>
                <a:gd name="T94" fmla="*/ 1342 w 1540"/>
                <a:gd name="T95" fmla="*/ 608 h 2578"/>
                <a:gd name="T96" fmla="*/ 1262 w 1540"/>
                <a:gd name="T97" fmla="*/ 626 h 2578"/>
                <a:gd name="T98" fmla="*/ 1126 w 1540"/>
                <a:gd name="T99" fmla="*/ 560 h 2578"/>
                <a:gd name="T100" fmla="*/ 1064 w 1540"/>
                <a:gd name="T101" fmla="*/ 432 h 2578"/>
                <a:gd name="T102" fmla="*/ 952 w 1540"/>
                <a:gd name="T103" fmla="*/ 330 h 2578"/>
                <a:gd name="T104" fmla="*/ 798 w 1540"/>
                <a:gd name="T105" fmla="*/ 288 h 2578"/>
                <a:gd name="T106" fmla="*/ 634 w 1540"/>
                <a:gd name="T107" fmla="*/ 316 h 2578"/>
                <a:gd name="T108" fmla="*/ 484 w 1540"/>
                <a:gd name="T109" fmla="*/ 428 h 2578"/>
                <a:gd name="T110" fmla="*/ 398 w 1540"/>
                <a:gd name="T111" fmla="*/ 616 h 2578"/>
                <a:gd name="T112" fmla="*/ 422 w 1540"/>
                <a:gd name="T113" fmla="*/ 784 h 2578"/>
                <a:gd name="T114" fmla="*/ 520 w 1540"/>
                <a:gd name="T115" fmla="*/ 912 h 2578"/>
                <a:gd name="T116" fmla="*/ 778 w 1540"/>
                <a:gd name="T117" fmla="*/ 1042 h 2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40" h="2578">
                  <a:moveTo>
                    <a:pt x="838" y="1064"/>
                  </a:moveTo>
                  <a:lnTo>
                    <a:pt x="838" y="1064"/>
                  </a:lnTo>
                  <a:lnTo>
                    <a:pt x="930" y="1096"/>
                  </a:lnTo>
                  <a:lnTo>
                    <a:pt x="1016" y="1130"/>
                  </a:lnTo>
                  <a:lnTo>
                    <a:pt x="1094" y="1164"/>
                  </a:lnTo>
                  <a:lnTo>
                    <a:pt x="1166" y="1200"/>
                  </a:lnTo>
                  <a:lnTo>
                    <a:pt x="1230" y="1238"/>
                  </a:lnTo>
                  <a:lnTo>
                    <a:pt x="1260" y="1256"/>
                  </a:lnTo>
                  <a:lnTo>
                    <a:pt x="1288" y="1276"/>
                  </a:lnTo>
                  <a:lnTo>
                    <a:pt x="1314" y="1296"/>
                  </a:lnTo>
                  <a:lnTo>
                    <a:pt x="1338" y="1316"/>
                  </a:lnTo>
                  <a:lnTo>
                    <a:pt x="1360" y="1336"/>
                  </a:lnTo>
                  <a:lnTo>
                    <a:pt x="1382" y="1356"/>
                  </a:lnTo>
                  <a:lnTo>
                    <a:pt x="1382" y="1356"/>
                  </a:lnTo>
                  <a:lnTo>
                    <a:pt x="1400" y="1376"/>
                  </a:lnTo>
                  <a:lnTo>
                    <a:pt x="1418" y="1398"/>
                  </a:lnTo>
                  <a:lnTo>
                    <a:pt x="1436" y="1420"/>
                  </a:lnTo>
                  <a:lnTo>
                    <a:pt x="1450" y="1444"/>
                  </a:lnTo>
                  <a:lnTo>
                    <a:pt x="1466" y="1468"/>
                  </a:lnTo>
                  <a:lnTo>
                    <a:pt x="1478" y="1492"/>
                  </a:lnTo>
                  <a:lnTo>
                    <a:pt x="1490" y="1518"/>
                  </a:lnTo>
                  <a:lnTo>
                    <a:pt x="1500" y="1546"/>
                  </a:lnTo>
                  <a:lnTo>
                    <a:pt x="1510" y="1572"/>
                  </a:lnTo>
                  <a:lnTo>
                    <a:pt x="1518" y="1600"/>
                  </a:lnTo>
                  <a:lnTo>
                    <a:pt x="1524" y="1630"/>
                  </a:lnTo>
                  <a:lnTo>
                    <a:pt x="1530" y="1660"/>
                  </a:lnTo>
                  <a:lnTo>
                    <a:pt x="1534" y="1690"/>
                  </a:lnTo>
                  <a:lnTo>
                    <a:pt x="1538" y="1722"/>
                  </a:lnTo>
                  <a:lnTo>
                    <a:pt x="1540" y="1754"/>
                  </a:lnTo>
                  <a:lnTo>
                    <a:pt x="1540" y="1788"/>
                  </a:lnTo>
                  <a:lnTo>
                    <a:pt x="1540" y="1788"/>
                  </a:lnTo>
                  <a:lnTo>
                    <a:pt x="1540" y="1830"/>
                  </a:lnTo>
                  <a:lnTo>
                    <a:pt x="1536" y="1874"/>
                  </a:lnTo>
                  <a:lnTo>
                    <a:pt x="1532" y="1914"/>
                  </a:lnTo>
                  <a:lnTo>
                    <a:pt x="1526" y="1954"/>
                  </a:lnTo>
                  <a:lnTo>
                    <a:pt x="1520" y="1994"/>
                  </a:lnTo>
                  <a:lnTo>
                    <a:pt x="1510" y="2032"/>
                  </a:lnTo>
                  <a:lnTo>
                    <a:pt x="1500" y="2068"/>
                  </a:lnTo>
                  <a:lnTo>
                    <a:pt x="1486" y="2104"/>
                  </a:lnTo>
                  <a:lnTo>
                    <a:pt x="1472" y="2140"/>
                  </a:lnTo>
                  <a:lnTo>
                    <a:pt x="1456" y="2174"/>
                  </a:lnTo>
                  <a:lnTo>
                    <a:pt x="1440" y="2206"/>
                  </a:lnTo>
                  <a:lnTo>
                    <a:pt x="1420" y="2238"/>
                  </a:lnTo>
                  <a:lnTo>
                    <a:pt x="1398" y="2270"/>
                  </a:lnTo>
                  <a:lnTo>
                    <a:pt x="1376" y="2300"/>
                  </a:lnTo>
                  <a:lnTo>
                    <a:pt x="1352" y="2330"/>
                  </a:lnTo>
                  <a:lnTo>
                    <a:pt x="1326" y="2358"/>
                  </a:lnTo>
                  <a:lnTo>
                    <a:pt x="1326" y="2358"/>
                  </a:lnTo>
                  <a:lnTo>
                    <a:pt x="1298" y="2384"/>
                  </a:lnTo>
                  <a:lnTo>
                    <a:pt x="1270" y="2410"/>
                  </a:lnTo>
                  <a:lnTo>
                    <a:pt x="1242" y="2432"/>
                  </a:lnTo>
                  <a:lnTo>
                    <a:pt x="1212" y="2454"/>
                  </a:lnTo>
                  <a:lnTo>
                    <a:pt x="1180" y="2474"/>
                  </a:lnTo>
                  <a:lnTo>
                    <a:pt x="1148" y="2492"/>
                  </a:lnTo>
                  <a:lnTo>
                    <a:pt x="1114" y="2508"/>
                  </a:lnTo>
                  <a:lnTo>
                    <a:pt x="1080" y="2522"/>
                  </a:lnTo>
                  <a:lnTo>
                    <a:pt x="1046" y="2536"/>
                  </a:lnTo>
                  <a:lnTo>
                    <a:pt x="1010" y="2546"/>
                  </a:lnTo>
                  <a:lnTo>
                    <a:pt x="972" y="2556"/>
                  </a:lnTo>
                  <a:lnTo>
                    <a:pt x="934" y="2564"/>
                  </a:lnTo>
                  <a:lnTo>
                    <a:pt x="896" y="2570"/>
                  </a:lnTo>
                  <a:lnTo>
                    <a:pt x="856" y="2574"/>
                  </a:lnTo>
                  <a:lnTo>
                    <a:pt x="814" y="2578"/>
                  </a:lnTo>
                  <a:lnTo>
                    <a:pt x="772" y="2578"/>
                  </a:lnTo>
                  <a:lnTo>
                    <a:pt x="772" y="2578"/>
                  </a:lnTo>
                  <a:lnTo>
                    <a:pt x="734" y="2578"/>
                  </a:lnTo>
                  <a:lnTo>
                    <a:pt x="696" y="2576"/>
                  </a:lnTo>
                  <a:lnTo>
                    <a:pt x="660" y="2572"/>
                  </a:lnTo>
                  <a:lnTo>
                    <a:pt x="624" y="2566"/>
                  </a:lnTo>
                  <a:lnTo>
                    <a:pt x="588" y="2560"/>
                  </a:lnTo>
                  <a:lnTo>
                    <a:pt x="554" y="2552"/>
                  </a:lnTo>
                  <a:lnTo>
                    <a:pt x="520" y="2544"/>
                  </a:lnTo>
                  <a:lnTo>
                    <a:pt x="488" y="2532"/>
                  </a:lnTo>
                  <a:lnTo>
                    <a:pt x="456" y="2520"/>
                  </a:lnTo>
                  <a:lnTo>
                    <a:pt x="424" y="2508"/>
                  </a:lnTo>
                  <a:lnTo>
                    <a:pt x="394" y="2492"/>
                  </a:lnTo>
                  <a:lnTo>
                    <a:pt x="364" y="2476"/>
                  </a:lnTo>
                  <a:lnTo>
                    <a:pt x="336" y="2458"/>
                  </a:lnTo>
                  <a:lnTo>
                    <a:pt x="308" y="2440"/>
                  </a:lnTo>
                  <a:lnTo>
                    <a:pt x="280" y="2418"/>
                  </a:lnTo>
                  <a:lnTo>
                    <a:pt x="254" y="2398"/>
                  </a:lnTo>
                  <a:lnTo>
                    <a:pt x="254" y="2398"/>
                  </a:lnTo>
                  <a:lnTo>
                    <a:pt x="228" y="2374"/>
                  </a:lnTo>
                  <a:lnTo>
                    <a:pt x="204" y="2350"/>
                  </a:lnTo>
                  <a:lnTo>
                    <a:pt x="180" y="2326"/>
                  </a:lnTo>
                  <a:lnTo>
                    <a:pt x="160" y="2300"/>
                  </a:lnTo>
                  <a:lnTo>
                    <a:pt x="140" y="2272"/>
                  </a:lnTo>
                  <a:lnTo>
                    <a:pt x="120" y="2246"/>
                  </a:lnTo>
                  <a:lnTo>
                    <a:pt x="102" y="2216"/>
                  </a:lnTo>
                  <a:lnTo>
                    <a:pt x="86" y="2188"/>
                  </a:lnTo>
                  <a:lnTo>
                    <a:pt x="72" y="2158"/>
                  </a:lnTo>
                  <a:lnTo>
                    <a:pt x="58" y="2126"/>
                  </a:lnTo>
                  <a:lnTo>
                    <a:pt x="46" y="2094"/>
                  </a:lnTo>
                  <a:lnTo>
                    <a:pt x="34" y="2060"/>
                  </a:lnTo>
                  <a:lnTo>
                    <a:pt x="26" y="2028"/>
                  </a:lnTo>
                  <a:lnTo>
                    <a:pt x="16" y="1992"/>
                  </a:lnTo>
                  <a:lnTo>
                    <a:pt x="10" y="1956"/>
                  </a:lnTo>
                  <a:lnTo>
                    <a:pt x="4" y="1920"/>
                  </a:lnTo>
                  <a:lnTo>
                    <a:pt x="4" y="1920"/>
                  </a:lnTo>
                  <a:lnTo>
                    <a:pt x="0" y="1904"/>
                  </a:lnTo>
                  <a:lnTo>
                    <a:pt x="0" y="1880"/>
                  </a:lnTo>
                  <a:lnTo>
                    <a:pt x="0" y="1880"/>
                  </a:lnTo>
                  <a:lnTo>
                    <a:pt x="0" y="1864"/>
                  </a:lnTo>
                  <a:lnTo>
                    <a:pt x="2" y="1846"/>
                  </a:lnTo>
                  <a:lnTo>
                    <a:pt x="6" y="1830"/>
                  </a:lnTo>
                  <a:lnTo>
                    <a:pt x="12" y="1816"/>
                  </a:lnTo>
                  <a:lnTo>
                    <a:pt x="18" y="1800"/>
                  </a:lnTo>
                  <a:lnTo>
                    <a:pt x="28" y="1788"/>
                  </a:lnTo>
                  <a:lnTo>
                    <a:pt x="36" y="1774"/>
                  </a:lnTo>
                  <a:lnTo>
                    <a:pt x="48" y="1762"/>
                  </a:lnTo>
                  <a:lnTo>
                    <a:pt x="48" y="1762"/>
                  </a:lnTo>
                  <a:lnTo>
                    <a:pt x="60" y="1750"/>
                  </a:lnTo>
                  <a:lnTo>
                    <a:pt x="74" y="1740"/>
                  </a:lnTo>
                  <a:lnTo>
                    <a:pt x="88" y="1732"/>
                  </a:lnTo>
                  <a:lnTo>
                    <a:pt x="102" y="1724"/>
                  </a:lnTo>
                  <a:lnTo>
                    <a:pt x="118" y="1720"/>
                  </a:lnTo>
                  <a:lnTo>
                    <a:pt x="134" y="1716"/>
                  </a:lnTo>
                  <a:lnTo>
                    <a:pt x="150" y="1714"/>
                  </a:lnTo>
                  <a:lnTo>
                    <a:pt x="168" y="1712"/>
                  </a:lnTo>
                  <a:lnTo>
                    <a:pt x="168" y="1712"/>
                  </a:lnTo>
                  <a:lnTo>
                    <a:pt x="184" y="1714"/>
                  </a:lnTo>
                  <a:lnTo>
                    <a:pt x="200" y="1716"/>
                  </a:lnTo>
                  <a:lnTo>
                    <a:pt x="214" y="1720"/>
                  </a:lnTo>
                  <a:lnTo>
                    <a:pt x="228" y="1724"/>
                  </a:lnTo>
                  <a:lnTo>
                    <a:pt x="242" y="1730"/>
                  </a:lnTo>
                  <a:lnTo>
                    <a:pt x="256" y="1738"/>
                  </a:lnTo>
                  <a:lnTo>
                    <a:pt x="268" y="1748"/>
                  </a:lnTo>
                  <a:lnTo>
                    <a:pt x="280" y="1760"/>
                  </a:lnTo>
                  <a:lnTo>
                    <a:pt x="280" y="1760"/>
                  </a:lnTo>
                  <a:lnTo>
                    <a:pt x="292" y="1772"/>
                  </a:lnTo>
                  <a:lnTo>
                    <a:pt x="300" y="1784"/>
                  </a:lnTo>
                  <a:lnTo>
                    <a:pt x="310" y="1796"/>
                  </a:lnTo>
                  <a:lnTo>
                    <a:pt x="316" y="1810"/>
                  </a:lnTo>
                  <a:lnTo>
                    <a:pt x="324" y="1824"/>
                  </a:lnTo>
                  <a:lnTo>
                    <a:pt x="328" y="1840"/>
                  </a:lnTo>
                  <a:lnTo>
                    <a:pt x="332" y="1856"/>
                  </a:lnTo>
                  <a:lnTo>
                    <a:pt x="336" y="1872"/>
                  </a:lnTo>
                  <a:lnTo>
                    <a:pt x="336" y="1872"/>
                  </a:lnTo>
                  <a:lnTo>
                    <a:pt x="342" y="1920"/>
                  </a:lnTo>
                  <a:lnTo>
                    <a:pt x="352" y="1964"/>
                  </a:lnTo>
                  <a:lnTo>
                    <a:pt x="366" y="2006"/>
                  </a:lnTo>
                  <a:lnTo>
                    <a:pt x="382" y="2046"/>
                  </a:lnTo>
                  <a:lnTo>
                    <a:pt x="402" y="2084"/>
                  </a:lnTo>
                  <a:lnTo>
                    <a:pt x="426" y="2118"/>
                  </a:lnTo>
                  <a:lnTo>
                    <a:pt x="452" y="2150"/>
                  </a:lnTo>
                  <a:lnTo>
                    <a:pt x="480" y="2180"/>
                  </a:lnTo>
                  <a:lnTo>
                    <a:pt x="480" y="2180"/>
                  </a:lnTo>
                  <a:lnTo>
                    <a:pt x="512" y="2208"/>
                  </a:lnTo>
                  <a:lnTo>
                    <a:pt x="546" y="2230"/>
                  </a:lnTo>
                  <a:lnTo>
                    <a:pt x="580" y="2250"/>
                  </a:lnTo>
                  <a:lnTo>
                    <a:pt x="618" y="2266"/>
                  </a:lnTo>
                  <a:lnTo>
                    <a:pt x="656" y="2280"/>
                  </a:lnTo>
                  <a:lnTo>
                    <a:pt x="696" y="2288"/>
                  </a:lnTo>
                  <a:lnTo>
                    <a:pt x="738" y="2294"/>
                  </a:lnTo>
                  <a:lnTo>
                    <a:pt x="782" y="2296"/>
                  </a:lnTo>
                  <a:lnTo>
                    <a:pt x="782" y="2296"/>
                  </a:lnTo>
                  <a:lnTo>
                    <a:pt x="826" y="2294"/>
                  </a:lnTo>
                  <a:lnTo>
                    <a:pt x="868" y="2288"/>
                  </a:lnTo>
                  <a:lnTo>
                    <a:pt x="910" y="2278"/>
                  </a:lnTo>
                  <a:lnTo>
                    <a:pt x="950" y="2264"/>
                  </a:lnTo>
                  <a:lnTo>
                    <a:pt x="988" y="2246"/>
                  </a:lnTo>
                  <a:lnTo>
                    <a:pt x="1026" y="2224"/>
                  </a:lnTo>
                  <a:lnTo>
                    <a:pt x="1060" y="2198"/>
                  </a:lnTo>
                  <a:lnTo>
                    <a:pt x="1094" y="2168"/>
                  </a:lnTo>
                  <a:lnTo>
                    <a:pt x="1094" y="2168"/>
                  </a:lnTo>
                  <a:lnTo>
                    <a:pt x="1126" y="2134"/>
                  </a:lnTo>
                  <a:lnTo>
                    <a:pt x="1152" y="2100"/>
                  </a:lnTo>
                  <a:lnTo>
                    <a:pt x="1176" y="2064"/>
                  </a:lnTo>
                  <a:lnTo>
                    <a:pt x="1194" y="2028"/>
                  </a:lnTo>
                  <a:lnTo>
                    <a:pt x="1208" y="1988"/>
                  </a:lnTo>
                  <a:lnTo>
                    <a:pt x="1218" y="1948"/>
                  </a:lnTo>
                  <a:lnTo>
                    <a:pt x="1224" y="1906"/>
                  </a:lnTo>
                  <a:lnTo>
                    <a:pt x="1226" y="1862"/>
                  </a:lnTo>
                  <a:lnTo>
                    <a:pt x="1226" y="1862"/>
                  </a:lnTo>
                  <a:lnTo>
                    <a:pt x="1226" y="1820"/>
                  </a:lnTo>
                  <a:lnTo>
                    <a:pt x="1220" y="1780"/>
                  </a:lnTo>
                  <a:lnTo>
                    <a:pt x="1212" y="1742"/>
                  </a:lnTo>
                  <a:lnTo>
                    <a:pt x="1200" y="1706"/>
                  </a:lnTo>
                  <a:lnTo>
                    <a:pt x="1184" y="1672"/>
                  </a:lnTo>
                  <a:lnTo>
                    <a:pt x="1164" y="1640"/>
                  </a:lnTo>
                  <a:lnTo>
                    <a:pt x="1142" y="1608"/>
                  </a:lnTo>
                  <a:lnTo>
                    <a:pt x="1116" y="1580"/>
                  </a:lnTo>
                  <a:lnTo>
                    <a:pt x="1116" y="1580"/>
                  </a:lnTo>
                  <a:lnTo>
                    <a:pt x="1086" y="1554"/>
                  </a:lnTo>
                  <a:lnTo>
                    <a:pt x="1052" y="1526"/>
                  </a:lnTo>
                  <a:lnTo>
                    <a:pt x="1012" y="1500"/>
                  </a:lnTo>
                  <a:lnTo>
                    <a:pt x="966" y="1476"/>
                  </a:lnTo>
                  <a:lnTo>
                    <a:pt x="916" y="1452"/>
                  </a:lnTo>
                  <a:lnTo>
                    <a:pt x="862" y="1428"/>
                  </a:lnTo>
                  <a:lnTo>
                    <a:pt x="802" y="1404"/>
                  </a:lnTo>
                  <a:lnTo>
                    <a:pt x="736" y="1382"/>
                  </a:lnTo>
                  <a:lnTo>
                    <a:pt x="736" y="1382"/>
                  </a:lnTo>
                  <a:lnTo>
                    <a:pt x="650" y="1352"/>
                  </a:lnTo>
                  <a:lnTo>
                    <a:pt x="572" y="1320"/>
                  </a:lnTo>
                  <a:lnTo>
                    <a:pt x="498" y="1288"/>
                  </a:lnTo>
                  <a:lnTo>
                    <a:pt x="432" y="1254"/>
                  </a:lnTo>
                  <a:lnTo>
                    <a:pt x="372" y="1220"/>
                  </a:lnTo>
                  <a:lnTo>
                    <a:pt x="318" y="1184"/>
                  </a:lnTo>
                  <a:lnTo>
                    <a:pt x="294" y="1164"/>
                  </a:lnTo>
                  <a:lnTo>
                    <a:pt x="272" y="1146"/>
                  </a:lnTo>
                  <a:lnTo>
                    <a:pt x="250" y="1128"/>
                  </a:lnTo>
                  <a:lnTo>
                    <a:pt x="232" y="1108"/>
                  </a:lnTo>
                  <a:lnTo>
                    <a:pt x="232" y="1108"/>
                  </a:lnTo>
                  <a:lnTo>
                    <a:pt x="214" y="1088"/>
                  </a:lnTo>
                  <a:lnTo>
                    <a:pt x="196" y="1068"/>
                  </a:lnTo>
                  <a:lnTo>
                    <a:pt x="182" y="1046"/>
                  </a:lnTo>
                  <a:lnTo>
                    <a:pt x="166" y="1024"/>
                  </a:lnTo>
                  <a:lnTo>
                    <a:pt x="154" y="1002"/>
                  </a:lnTo>
                  <a:lnTo>
                    <a:pt x="142" y="978"/>
                  </a:lnTo>
                  <a:lnTo>
                    <a:pt x="130" y="954"/>
                  </a:lnTo>
                  <a:lnTo>
                    <a:pt x="120" y="928"/>
                  </a:lnTo>
                  <a:lnTo>
                    <a:pt x="112" y="902"/>
                  </a:lnTo>
                  <a:lnTo>
                    <a:pt x="104" y="876"/>
                  </a:lnTo>
                  <a:lnTo>
                    <a:pt x="98" y="848"/>
                  </a:lnTo>
                  <a:lnTo>
                    <a:pt x="92" y="820"/>
                  </a:lnTo>
                  <a:lnTo>
                    <a:pt x="88" y="790"/>
                  </a:lnTo>
                  <a:lnTo>
                    <a:pt x="86" y="760"/>
                  </a:lnTo>
                  <a:lnTo>
                    <a:pt x="84" y="698"/>
                  </a:lnTo>
                  <a:lnTo>
                    <a:pt x="84" y="698"/>
                  </a:lnTo>
                  <a:lnTo>
                    <a:pt x="84" y="662"/>
                  </a:lnTo>
                  <a:lnTo>
                    <a:pt x="86" y="628"/>
                  </a:lnTo>
                  <a:lnTo>
                    <a:pt x="90" y="592"/>
                  </a:lnTo>
                  <a:lnTo>
                    <a:pt x="96" y="560"/>
                  </a:lnTo>
                  <a:lnTo>
                    <a:pt x="104" y="526"/>
                  </a:lnTo>
                  <a:lnTo>
                    <a:pt x="112" y="494"/>
                  </a:lnTo>
                  <a:lnTo>
                    <a:pt x="122" y="462"/>
                  </a:lnTo>
                  <a:lnTo>
                    <a:pt x="134" y="432"/>
                  </a:lnTo>
                  <a:lnTo>
                    <a:pt x="148" y="400"/>
                  </a:lnTo>
                  <a:lnTo>
                    <a:pt x="162" y="370"/>
                  </a:lnTo>
                  <a:lnTo>
                    <a:pt x="180" y="342"/>
                  </a:lnTo>
                  <a:lnTo>
                    <a:pt x="198" y="314"/>
                  </a:lnTo>
                  <a:lnTo>
                    <a:pt x="218" y="286"/>
                  </a:lnTo>
                  <a:lnTo>
                    <a:pt x="240" y="258"/>
                  </a:lnTo>
                  <a:lnTo>
                    <a:pt x="262" y="232"/>
                  </a:lnTo>
                  <a:lnTo>
                    <a:pt x="286" y="206"/>
                  </a:lnTo>
                  <a:lnTo>
                    <a:pt x="286" y="206"/>
                  </a:lnTo>
                  <a:lnTo>
                    <a:pt x="312" y="180"/>
                  </a:lnTo>
                  <a:lnTo>
                    <a:pt x="338" y="158"/>
                  </a:lnTo>
                  <a:lnTo>
                    <a:pt x="366" y="136"/>
                  </a:lnTo>
                  <a:lnTo>
                    <a:pt x="394" y="116"/>
                  </a:lnTo>
                  <a:lnTo>
                    <a:pt x="422" y="98"/>
                  </a:lnTo>
                  <a:lnTo>
                    <a:pt x="450" y="80"/>
                  </a:lnTo>
                  <a:lnTo>
                    <a:pt x="480" y="66"/>
                  </a:lnTo>
                  <a:lnTo>
                    <a:pt x="510" y="52"/>
                  </a:lnTo>
                  <a:lnTo>
                    <a:pt x="540" y="40"/>
                  </a:lnTo>
                  <a:lnTo>
                    <a:pt x="572" y="30"/>
                  </a:lnTo>
                  <a:lnTo>
                    <a:pt x="604" y="20"/>
                  </a:lnTo>
                  <a:lnTo>
                    <a:pt x="636" y="12"/>
                  </a:lnTo>
                  <a:lnTo>
                    <a:pt x="670" y="8"/>
                  </a:lnTo>
                  <a:lnTo>
                    <a:pt x="702" y="4"/>
                  </a:lnTo>
                  <a:lnTo>
                    <a:pt x="738" y="0"/>
                  </a:lnTo>
                  <a:lnTo>
                    <a:pt x="772" y="0"/>
                  </a:lnTo>
                  <a:lnTo>
                    <a:pt x="772" y="0"/>
                  </a:lnTo>
                  <a:lnTo>
                    <a:pt x="824" y="2"/>
                  </a:lnTo>
                  <a:lnTo>
                    <a:pt x="876" y="6"/>
                  </a:lnTo>
                  <a:lnTo>
                    <a:pt x="924" y="14"/>
                  </a:lnTo>
                  <a:lnTo>
                    <a:pt x="974" y="26"/>
                  </a:lnTo>
                  <a:lnTo>
                    <a:pt x="1020" y="40"/>
                  </a:lnTo>
                  <a:lnTo>
                    <a:pt x="1066" y="58"/>
                  </a:lnTo>
                  <a:lnTo>
                    <a:pt x="1110" y="78"/>
                  </a:lnTo>
                  <a:lnTo>
                    <a:pt x="1152" y="102"/>
                  </a:lnTo>
                  <a:lnTo>
                    <a:pt x="1152" y="102"/>
                  </a:lnTo>
                  <a:lnTo>
                    <a:pt x="1192" y="128"/>
                  </a:lnTo>
                  <a:lnTo>
                    <a:pt x="1230" y="158"/>
                  </a:lnTo>
                  <a:lnTo>
                    <a:pt x="1266" y="188"/>
                  </a:lnTo>
                  <a:lnTo>
                    <a:pt x="1298" y="222"/>
                  </a:lnTo>
                  <a:lnTo>
                    <a:pt x="1328" y="258"/>
                  </a:lnTo>
                  <a:lnTo>
                    <a:pt x="1356" y="296"/>
                  </a:lnTo>
                  <a:lnTo>
                    <a:pt x="1382" y="336"/>
                  </a:lnTo>
                  <a:lnTo>
                    <a:pt x="1404" y="380"/>
                  </a:lnTo>
                  <a:lnTo>
                    <a:pt x="1416" y="402"/>
                  </a:lnTo>
                  <a:lnTo>
                    <a:pt x="1422" y="410"/>
                  </a:lnTo>
                  <a:lnTo>
                    <a:pt x="1422" y="410"/>
                  </a:lnTo>
                  <a:lnTo>
                    <a:pt x="1428" y="438"/>
                  </a:lnTo>
                  <a:lnTo>
                    <a:pt x="1430" y="464"/>
                  </a:lnTo>
                  <a:lnTo>
                    <a:pt x="1430" y="464"/>
                  </a:lnTo>
                  <a:lnTo>
                    <a:pt x="1430" y="480"/>
                  </a:lnTo>
                  <a:lnTo>
                    <a:pt x="1426" y="496"/>
                  </a:lnTo>
                  <a:lnTo>
                    <a:pt x="1424" y="510"/>
                  </a:lnTo>
                  <a:lnTo>
                    <a:pt x="1418" y="526"/>
                  </a:lnTo>
                  <a:lnTo>
                    <a:pt x="1410" y="540"/>
                  </a:lnTo>
                  <a:lnTo>
                    <a:pt x="1402" y="554"/>
                  </a:lnTo>
                  <a:lnTo>
                    <a:pt x="1392" y="566"/>
                  </a:lnTo>
                  <a:lnTo>
                    <a:pt x="1382" y="578"/>
                  </a:lnTo>
                  <a:lnTo>
                    <a:pt x="1382" y="578"/>
                  </a:lnTo>
                  <a:lnTo>
                    <a:pt x="1368" y="590"/>
                  </a:lnTo>
                  <a:lnTo>
                    <a:pt x="1356" y="600"/>
                  </a:lnTo>
                  <a:lnTo>
                    <a:pt x="1342" y="608"/>
                  </a:lnTo>
                  <a:lnTo>
                    <a:pt x="1328" y="614"/>
                  </a:lnTo>
                  <a:lnTo>
                    <a:pt x="1312" y="620"/>
                  </a:lnTo>
                  <a:lnTo>
                    <a:pt x="1296" y="624"/>
                  </a:lnTo>
                  <a:lnTo>
                    <a:pt x="1280" y="626"/>
                  </a:lnTo>
                  <a:lnTo>
                    <a:pt x="1262" y="626"/>
                  </a:lnTo>
                  <a:lnTo>
                    <a:pt x="1262" y="626"/>
                  </a:lnTo>
                  <a:lnTo>
                    <a:pt x="1232" y="626"/>
                  </a:lnTo>
                  <a:lnTo>
                    <a:pt x="1206" y="620"/>
                  </a:lnTo>
                  <a:lnTo>
                    <a:pt x="1182" y="610"/>
                  </a:lnTo>
                  <a:lnTo>
                    <a:pt x="1160" y="598"/>
                  </a:lnTo>
                  <a:lnTo>
                    <a:pt x="1142" y="580"/>
                  </a:lnTo>
                  <a:lnTo>
                    <a:pt x="1126" y="560"/>
                  </a:lnTo>
                  <a:lnTo>
                    <a:pt x="1114" y="536"/>
                  </a:lnTo>
                  <a:lnTo>
                    <a:pt x="1104" y="508"/>
                  </a:lnTo>
                  <a:lnTo>
                    <a:pt x="1104" y="508"/>
                  </a:lnTo>
                  <a:lnTo>
                    <a:pt x="1092" y="482"/>
                  </a:lnTo>
                  <a:lnTo>
                    <a:pt x="1078" y="456"/>
                  </a:lnTo>
                  <a:lnTo>
                    <a:pt x="1064" y="432"/>
                  </a:lnTo>
                  <a:lnTo>
                    <a:pt x="1048" y="412"/>
                  </a:lnTo>
                  <a:lnTo>
                    <a:pt x="1030" y="392"/>
                  </a:lnTo>
                  <a:lnTo>
                    <a:pt x="1012" y="374"/>
                  </a:lnTo>
                  <a:lnTo>
                    <a:pt x="994" y="356"/>
                  </a:lnTo>
                  <a:lnTo>
                    <a:pt x="974" y="342"/>
                  </a:lnTo>
                  <a:lnTo>
                    <a:pt x="952" y="330"/>
                  </a:lnTo>
                  <a:lnTo>
                    <a:pt x="928" y="318"/>
                  </a:lnTo>
                  <a:lnTo>
                    <a:pt x="904" y="308"/>
                  </a:lnTo>
                  <a:lnTo>
                    <a:pt x="880" y="300"/>
                  </a:lnTo>
                  <a:lnTo>
                    <a:pt x="854" y="294"/>
                  </a:lnTo>
                  <a:lnTo>
                    <a:pt x="826" y="290"/>
                  </a:lnTo>
                  <a:lnTo>
                    <a:pt x="798" y="288"/>
                  </a:lnTo>
                  <a:lnTo>
                    <a:pt x="768" y="288"/>
                  </a:lnTo>
                  <a:lnTo>
                    <a:pt x="768" y="288"/>
                  </a:lnTo>
                  <a:lnTo>
                    <a:pt x="732" y="288"/>
                  </a:lnTo>
                  <a:lnTo>
                    <a:pt x="698" y="294"/>
                  </a:lnTo>
                  <a:lnTo>
                    <a:pt x="666" y="302"/>
                  </a:lnTo>
                  <a:lnTo>
                    <a:pt x="634" y="316"/>
                  </a:lnTo>
                  <a:lnTo>
                    <a:pt x="602" y="332"/>
                  </a:lnTo>
                  <a:lnTo>
                    <a:pt x="570" y="350"/>
                  </a:lnTo>
                  <a:lnTo>
                    <a:pt x="540" y="374"/>
                  </a:lnTo>
                  <a:lnTo>
                    <a:pt x="512" y="400"/>
                  </a:lnTo>
                  <a:lnTo>
                    <a:pt x="512" y="400"/>
                  </a:lnTo>
                  <a:lnTo>
                    <a:pt x="484" y="428"/>
                  </a:lnTo>
                  <a:lnTo>
                    <a:pt x="462" y="458"/>
                  </a:lnTo>
                  <a:lnTo>
                    <a:pt x="442" y="488"/>
                  </a:lnTo>
                  <a:lnTo>
                    <a:pt x="426" y="518"/>
                  </a:lnTo>
                  <a:lnTo>
                    <a:pt x="414" y="550"/>
                  </a:lnTo>
                  <a:lnTo>
                    <a:pt x="404" y="582"/>
                  </a:lnTo>
                  <a:lnTo>
                    <a:pt x="398" y="616"/>
                  </a:lnTo>
                  <a:lnTo>
                    <a:pt x="398" y="650"/>
                  </a:lnTo>
                  <a:lnTo>
                    <a:pt x="398" y="650"/>
                  </a:lnTo>
                  <a:lnTo>
                    <a:pt x="398" y="686"/>
                  </a:lnTo>
                  <a:lnTo>
                    <a:pt x="404" y="720"/>
                  </a:lnTo>
                  <a:lnTo>
                    <a:pt x="410" y="754"/>
                  </a:lnTo>
                  <a:lnTo>
                    <a:pt x="422" y="784"/>
                  </a:lnTo>
                  <a:lnTo>
                    <a:pt x="434" y="814"/>
                  </a:lnTo>
                  <a:lnTo>
                    <a:pt x="452" y="840"/>
                  </a:lnTo>
                  <a:lnTo>
                    <a:pt x="472" y="866"/>
                  </a:lnTo>
                  <a:lnTo>
                    <a:pt x="494" y="890"/>
                  </a:lnTo>
                  <a:lnTo>
                    <a:pt x="494" y="890"/>
                  </a:lnTo>
                  <a:lnTo>
                    <a:pt x="520" y="912"/>
                  </a:lnTo>
                  <a:lnTo>
                    <a:pt x="552" y="934"/>
                  </a:lnTo>
                  <a:lnTo>
                    <a:pt x="588" y="956"/>
                  </a:lnTo>
                  <a:lnTo>
                    <a:pt x="628" y="978"/>
                  </a:lnTo>
                  <a:lnTo>
                    <a:pt x="674" y="1000"/>
                  </a:lnTo>
                  <a:lnTo>
                    <a:pt x="724" y="1022"/>
                  </a:lnTo>
                  <a:lnTo>
                    <a:pt x="778" y="1042"/>
                  </a:lnTo>
                  <a:lnTo>
                    <a:pt x="838" y="1064"/>
                  </a:lnTo>
                  <a:lnTo>
                    <a:pt x="838" y="10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80" name="Freeform 17"/>
            <p:cNvSpPr>
              <a:spLocks/>
            </p:cNvSpPr>
            <p:nvPr userDrawn="1"/>
          </p:nvSpPr>
          <p:spPr bwMode="auto">
            <a:xfrm>
              <a:off x="5124419" y="3432466"/>
              <a:ext cx="31444" cy="31444"/>
            </a:xfrm>
            <a:custGeom>
              <a:avLst/>
              <a:gdLst>
                <a:gd name="T0" fmla="*/ 62 w 424"/>
                <a:gd name="T1" fmla="*/ 362 h 424"/>
                <a:gd name="T2" fmla="*/ 34 w 424"/>
                <a:gd name="T3" fmla="*/ 328 h 424"/>
                <a:gd name="T4" fmla="*/ 16 w 424"/>
                <a:gd name="T5" fmla="*/ 294 h 424"/>
                <a:gd name="T6" fmla="*/ 4 w 424"/>
                <a:gd name="T7" fmla="*/ 254 h 424"/>
                <a:gd name="T8" fmla="*/ 0 w 424"/>
                <a:gd name="T9" fmla="*/ 212 h 424"/>
                <a:gd name="T10" fmla="*/ 0 w 424"/>
                <a:gd name="T11" fmla="*/ 190 h 424"/>
                <a:gd name="T12" fmla="*/ 8 w 424"/>
                <a:gd name="T13" fmla="*/ 148 h 424"/>
                <a:gd name="T14" fmla="*/ 24 w 424"/>
                <a:gd name="T15" fmla="*/ 112 h 424"/>
                <a:gd name="T16" fmla="*/ 48 w 424"/>
                <a:gd name="T17" fmla="*/ 78 h 424"/>
                <a:gd name="T18" fmla="*/ 62 w 424"/>
                <a:gd name="T19" fmla="*/ 62 h 424"/>
                <a:gd name="T20" fmla="*/ 94 w 424"/>
                <a:gd name="T21" fmla="*/ 34 h 424"/>
                <a:gd name="T22" fmla="*/ 130 w 424"/>
                <a:gd name="T23" fmla="*/ 14 h 424"/>
                <a:gd name="T24" fmla="*/ 170 w 424"/>
                <a:gd name="T25" fmla="*/ 4 h 424"/>
                <a:gd name="T26" fmla="*/ 212 w 424"/>
                <a:gd name="T27" fmla="*/ 0 h 424"/>
                <a:gd name="T28" fmla="*/ 234 w 424"/>
                <a:gd name="T29" fmla="*/ 0 h 424"/>
                <a:gd name="T30" fmla="*/ 274 w 424"/>
                <a:gd name="T31" fmla="*/ 8 h 424"/>
                <a:gd name="T32" fmla="*/ 312 w 424"/>
                <a:gd name="T33" fmla="*/ 24 h 424"/>
                <a:gd name="T34" fmla="*/ 346 w 424"/>
                <a:gd name="T35" fmla="*/ 46 h 424"/>
                <a:gd name="T36" fmla="*/ 362 w 424"/>
                <a:gd name="T37" fmla="*/ 62 h 424"/>
                <a:gd name="T38" fmla="*/ 388 w 424"/>
                <a:gd name="T39" fmla="*/ 94 h 424"/>
                <a:gd name="T40" fmla="*/ 408 w 424"/>
                <a:gd name="T41" fmla="*/ 130 h 424"/>
                <a:gd name="T42" fmla="*/ 420 w 424"/>
                <a:gd name="T43" fmla="*/ 168 h 424"/>
                <a:gd name="T44" fmla="*/ 424 w 424"/>
                <a:gd name="T45" fmla="*/ 212 h 424"/>
                <a:gd name="T46" fmla="*/ 422 w 424"/>
                <a:gd name="T47" fmla="*/ 234 h 424"/>
                <a:gd name="T48" fmla="*/ 414 w 424"/>
                <a:gd name="T49" fmla="*/ 274 h 424"/>
                <a:gd name="T50" fmla="*/ 400 w 424"/>
                <a:gd name="T51" fmla="*/ 312 h 424"/>
                <a:gd name="T52" fmla="*/ 376 w 424"/>
                <a:gd name="T53" fmla="*/ 346 h 424"/>
                <a:gd name="T54" fmla="*/ 362 w 424"/>
                <a:gd name="T55" fmla="*/ 362 h 424"/>
                <a:gd name="T56" fmla="*/ 330 w 424"/>
                <a:gd name="T57" fmla="*/ 388 h 424"/>
                <a:gd name="T58" fmla="*/ 294 w 424"/>
                <a:gd name="T59" fmla="*/ 408 h 424"/>
                <a:gd name="T60" fmla="*/ 254 w 424"/>
                <a:gd name="T61" fmla="*/ 420 h 424"/>
                <a:gd name="T62" fmla="*/ 212 w 424"/>
                <a:gd name="T63" fmla="*/ 424 h 424"/>
                <a:gd name="T64" fmla="*/ 190 w 424"/>
                <a:gd name="T65" fmla="*/ 422 h 424"/>
                <a:gd name="T66" fmla="*/ 150 w 424"/>
                <a:gd name="T67" fmla="*/ 414 h 424"/>
                <a:gd name="T68" fmla="*/ 112 w 424"/>
                <a:gd name="T69" fmla="*/ 400 h 424"/>
                <a:gd name="T70" fmla="*/ 78 w 424"/>
                <a:gd name="T71" fmla="*/ 376 h 424"/>
                <a:gd name="T72" fmla="*/ 62 w 424"/>
                <a:gd name="T73" fmla="*/ 362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4" h="424">
                  <a:moveTo>
                    <a:pt x="62" y="362"/>
                  </a:moveTo>
                  <a:lnTo>
                    <a:pt x="62" y="362"/>
                  </a:lnTo>
                  <a:lnTo>
                    <a:pt x="48" y="346"/>
                  </a:lnTo>
                  <a:lnTo>
                    <a:pt x="34" y="328"/>
                  </a:lnTo>
                  <a:lnTo>
                    <a:pt x="24" y="312"/>
                  </a:lnTo>
                  <a:lnTo>
                    <a:pt x="16" y="294"/>
                  </a:lnTo>
                  <a:lnTo>
                    <a:pt x="8" y="274"/>
                  </a:lnTo>
                  <a:lnTo>
                    <a:pt x="4" y="254"/>
                  </a:lnTo>
                  <a:lnTo>
                    <a:pt x="0" y="234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190"/>
                  </a:lnTo>
                  <a:lnTo>
                    <a:pt x="4" y="168"/>
                  </a:lnTo>
                  <a:lnTo>
                    <a:pt x="8" y="148"/>
                  </a:lnTo>
                  <a:lnTo>
                    <a:pt x="16" y="130"/>
                  </a:lnTo>
                  <a:lnTo>
                    <a:pt x="24" y="112"/>
                  </a:lnTo>
                  <a:lnTo>
                    <a:pt x="34" y="94"/>
                  </a:lnTo>
                  <a:lnTo>
                    <a:pt x="48" y="78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78" y="46"/>
                  </a:lnTo>
                  <a:lnTo>
                    <a:pt x="94" y="34"/>
                  </a:lnTo>
                  <a:lnTo>
                    <a:pt x="112" y="24"/>
                  </a:lnTo>
                  <a:lnTo>
                    <a:pt x="130" y="14"/>
                  </a:lnTo>
                  <a:lnTo>
                    <a:pt x="150" y="8"/>
                  </a:lnTo>
                  <a:lnTo>
                    <a:pt x="170" y="4"/>
                  </a:lnTo>
                  <a:lnTo>
                    <a:pt x="190" y="0"/>
                  </a:lnTo>
                  <a:lnTo>
                    <a:pt x="212" y="0"/>
                  </a:lnTo>
                  <a:lnTo>
                    <a:pt x="212" y="0"/>
                  </a:lnTo>
                  <a:lnTo>
                    <a:pt x="234" y="0"/>
                  </a:lnTo>
                  <a:lnTo>
                    <a:pt x="254" y="4"/>
                  </a:lnTo>
                  <a:lnTo>
                    <a:pt x="274" y="8"/>
                  </a:lnTo>
                  <a:lnTo>
                    <a:pt x="294" y="14"/>
                  </a:lnTo>
                  <a:lnTo>
                    <a:pt x="312" y="24"/>
                  </a:lnTo>
                  <a:lnTo>
                    <a:pt x="330" y="34"/>
                  </a:lnTo>
                  <a:lnTo>
                    <a:pt x="346" y="46"/>
                  </a:lnTo>
                  <a:lnTo>
                    <a:pt x="362" y="62"/>
                  </a:lnTo>
                  <a:lnTo>
                    <a:pt x="362" y="62"/>
                  </a:lnTo>
                  <a:lnTo>
                    <a:pt x="376" y="78"/>
                  </a:lnTo>
                  <a:lnTo>
                    <a:pt x="388" y="94"/>
                  </a:lnTo>
                  <a:lnTo>
                    <a:pt x="400" y="112"/>
                  </a:lnTo>
                  <a:lnTo>
                    <a:pt x="408" y="130"/>
                  </a:lnTo>
                  <a:lnTo>
                    <a:pt x="414" y="148"/>
                  </a:lnTo>
                  <a:lnTo>
                    <a:pt x="420" y="168"/>
                  </a:lnTo>
                  <a:lnTo>
                    <a:pt x="422" y="190"/>
                  </a:lnTo>
                  <a:lnTo>
                    <a:pt x="424" y="212"/>
                  </a:lnTo>
                  <a:lnTo>
                    <a:pt x="424" y="212"/>
                  </a:lnTo>
                  <a:lnTo>
                    <a:pt x="422" y="234"/>
                  </a:lnTo>
                  <a:lnTo>
                    <a:pt x="420" y="254"/>
                  </a:lnTo>
                  <a:lnTo>
                    <a:pt x="414" y="274"/>
                  </a:lnTo>
                  <a:lnTo>
                    <a:pt x="408" y="294"/>
                  </a:lnTo>
                  <a:lnTo>
                    <a:pt x="400" y="312"/>
                  </a:lnTo>
                  <a:lnTo>
                    <a:pt x="388" y="328"/>
                  </a:lnTo>
                  <a:lnTo>
                    <a:pt x="376" y="346"/>
                  </a:lnTo>
                  <a:lnTo>
                    <a:pt x="362" y="362"/>
                  </a:lnTo>
                  <a:lnTo>
                    <a:pt x="362" y="362"/>
                  </a:lnTo>
                  <a:lnTo>
                    <a:pt x="346" y="376"/>
                  </a:lnTo>
                  <a:lnTo>
                    <a:pt x="330" y="388"/>
                  </a:lnTo>
                  <a:lnTo>
                    <a:pt x="312" y="400"/>
                  </a:lnTo>
                  <a:lnTo>
                    <a:pt x="294" y="408"/>
                  </a:lnTo>
                  <a:lnTo>
                    <a:pt x="274" y="414"/>
                  </a:lnTo>
                  <a:lnTo>
                    <a:pt x="254" y="420"/>
                  </a:lnTo>
                  <a:lnTo>
                    <a:pt x="234" y="422"/>
                  </a:lnTo>
                  <a:lnTo>
                    <a:pt x="212" y="424"/>
                  </a:lnTo>
                  <a:lnTo>
                    <a:pt x="212" y="424"/>
                  </a:lnTo>
                  <a:lnTo>
                    <a:pt x="190" y="422"/>
                  </a:lnTo>
                  <a:lnTo>
                    <a:pt x="170" y="420"/>
                  </a:lnTo>
                  <a:lnTo>
                    <a:pt x="150" y="414"/>
                  </a:lnTo>
                  <a:lnTo>
                    <a:pt x="130" y="408"/>
                  </a:lnTo>
                  <a:lnTo>
                    <a:pt x="112" y="400"/>
                  </a:lnTo>
                  <a:lnTo>
                    <a:pt x="94" y="388"/>
                  </a:lnTo>
                  <a:lnTo>
                    <a:pt x="78" y="376"/>
                  </a:lnTo>
                  <a:lnTo>
                    <a:pt x="62" y="362"/>
                  </a:lnTo>
                  <a:lnTo>
                    <a:pt x="62" y="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81" name="Freeform 18"/>
            <p:cNvSpPr>
              <a:spLocks/>
            </p:cNvSpPr>
            <p:nvPr userDrawn="1"/>
          </p:nvSpPr>
          <p:spPr bwMode="auto">
            <a:xfrm>
              <a:off x="5167877" y="3272725"/>
              <a:ext cx="183769" cy="191185"/>
            </a:xfrm>
            <a:custGeom>
              <a:avLst/>
              <a:gdLst>
                <a:gd name="T0" fmla="*/ 2360 w 2478"/>
                <a:gd name="T1" fmla="*/ 1710 h 2578"/>
                <a:gd name="T2" fmla="*/ 2428 w 2478"/>
                <a:gd name="T3" fmla="*/ 1752 h 2578"/>
                <a:gd name="T4" fmla="*/ 2464 w 2478"/>
                <a:gd name="T5" fmla="*/ 1804 h 2578"/>
                <a:gd name="T6" fmla="*/ 2478 w 2478"/>
                <a:gd name="T7" fmla="*/ 1866 h 2578"/>
                <a:gd name="T8" fmla="*/ 2446 w 2478"/>
                <a:gd name="T9" fmla="*/ 1964 h 2578"/>
                <a:gd name="T10" fmla="*/ 2326 w 2478"/>
                <a:gd name="T11" fmla="*/ 2130 h 2578"/>
                <a:gd name="T12" fmla="*/ 2182 w 2478"/>
                <a:gd name="T13" fmla="*/ 2274 h 2578"/>
                <a:gd name="T14" fmla="*/ 2014 w 2478"/>
                <a:gd name="T15" fmla="*/ 2394 h 2578"/>
                <a:gd name="T16" fmla="*/ 1866 w 2478"/>
                <a:gd name="T17" fmla="*/ 2470 h 2578"/>
                <a:gd name="T18" fmla="*/ 1668 w 2478"/>
                <a:gd name="T19" fmla="*/ 2536 h 2578"/>
                <a:gd name="T20" fmla="*/ 1460 w 2478"/>
                <a:gd name="T21" fmla="*/ 2572 h 2578"/>
                <a:gd name="T22" fmla="*/ 1262 w 2478"/>
                <a:gd name="T23" fmla="*/ 2576 h 2578"/>
                <a:gd name="T24" fmla="*/ 938 w 2478"/>
                <a:gd name="T25" fmla="*/ 2524 h 2578"/>
                <a:gd name="T26" fmla="*/ 648 w 2478"/>
                <a:gd name="T27" fmla="*/ 2400 h 2578"/>
                <a:gd name="T28" fmla="*/ 390 w 2478"/>
                <a:gd name="T29" fmla="*/ 2202 h 2578"/>
                <a:gd name="T30" fmla="*/ 220 w 2478"/>
                <a:gd name="T31" fmla="*/ 2004 h 2578"/>
                <a:gd name="T32" fmla="*/ 76 w 2478"/>
                <a:gd name="T33" fmla="*/ 1728 h 2578"/>
                <a:gd name="T34" fmla="*/ 6 w 2478"/>
                <a:gd name="T35" fmla="*/ 1420 h 2578"/>
                <a:gd name="T36" fmla="*/ 6 w 2478"/>
                <a:gd name="T37" fmla="*/ 1156 h 2578"/>
                <a:gd name="T38" fmla="*/ 76 w 2478"/>
                <a:gd name="T39" fmla="*/ 848 h 2578"/>
                <a:gd name="T40" fmla="*/ 220 w 2478"/>
                <a:gd name="T41" fmla="*/ 572 h 2578"/>
                <a:gd name="T42" fmla="*/ 390 w 2478"/>
                <a:gd name="T43" fmla="*/ 374 h 2578"/>
                <a:gd name="T44" fmla="*/ 648 w 2478"/>
                <a:gd name="T45" fmla="*/ 176 h 2578"/>
                <a:gd name="T46" fmla="*/ 938 w 2478"/>
                <a:gd name="T47" fmla="*/ 52 h 2578"/>
                <a:gd name="T48" fmla="*/ 1262 w 2478"/>
                <a:gd name="T49" fmla="*/ 0 h 2578"/>
                <a:gd name="T50" fmla="*/ 1458 w 2478"/>
                <a:gd name="T51" fmla="*/ 6 h 2578"/>
                <a:gd name="T52" fmla="*/ 1666 w 2478"/>
                <a:gd name="T53" fmla="*/ 40 h 2578"/>
                <a:gd name="T54" fmla="*/ 1862 w 2478"/>
                <a:gd name="T55" fmla="*/ 108 h 2578"/>
                <a:gd name="T56" fmla="*/ 2012 w 2478"/>
                <a:gd name="T57" fmla="*/ 186 h 2578"/>
                <a:gd name="T58" fmla="*/ 2182 w 2478"/>
                <a:gd name="T59" fmla="*/ 306 h 2578"/>
                <a:gd name="T60" fmla="*/ 2326 w 2478"/>
                <a:gd name="T61" fmla="*/ 448 h 2578"/>
                <a:gd name="T62" fmla="*/ 2446 w 2478"/>
                <a:gd name="T63" fmla="*/ 612 h 2578"/>
                <a:gd name="T64" fmla="*/ 2478 w 2478"/>
                <a:gd name="T65" fmla="*/ 710 h 2578"/>
                <a:gd name="T66" fmla="*/ 2464 w 2478"/>
                <a:gd name="T67" fmla="*/ 776 h 2578"/>
                <a:gd name="T68" fmla="*/ 2428 w 2478"/>
                <a:gd name="T69" fmla="*/ 830 h 2578"/>
                <a:gd name="T70" fmla="*/ 2360 w 2478"/>
                <a:gd name="T71" fmla="*/ 870 h 2578"/>
                <a:gd name="T72" fmla="*/ 2292 w 2478"/>
                <a:gd name="T73" fmla="*/ 876 h 2578"/>
                <a:gd name="T74" fmla="*/ 2194 w 2478"/>
                <a:gd name="T75" fmla="*/ 828 h 2578"/>
                <a:gd name="T76" fmla="*/ 2090 w 2478"/>
                <a:gd name="T77" fmla="*/ 676 h 2578"/>
                <a:gd name="T78" fmla="*/ 1856 w 2478"/>
                <a:gd name="T79" fmla="*/ 454 h 2578"/>
                <a:gd name="T80" fmla="*/ 1630 w 2478"/>
                <a:gd name="T81" fmla="*/ 338 h 2578"/>
                <a:gd name="T82" fmla="*/ 1324 w 2478"/>
                <a:gd name="T83" fmla="*/ 286 h 2578"/>
                <a:gd name="T84" fmla="*/ 1120 w 2478"/>
                <a:gd name="T85" fmla="*/ 304 h 2578"/>
                <a:gd name="T86" fmla="*/ 886 w 2478"/>
                <a:gd name="T87" fmla="*/ 378 h 2578"/>
                <a:gd name="T88" fmla="*/ 680 w 2478"/>
                <a:gd name="T89" fmla="*/ 508 h 2578"/>
                <a:gd name="T90" fmla="*/ 538 w 2478"/>
                <a:gd name="T91" fmla="*/ 650 h 2578"/>
                <a:gd name="T92" fmla="*/ 406 w 2478"/>
                <a:gd name="T93" fmla="*/ 854 h 2578"/>
                <a:gd name="T94" fmla="*/ 332 w 2478"/>
                <a:gd name="T95" fmla="*/ 1084 h 2578"/>
                <a:gd name="T96" fmla="*/ 314 w 2478"/>
                <a:gd name="T97" fmla="*/ 1292 h 2578"/>
                <a:gd name="T98" fmla="*/ 332 w 2478"/>
                <a:gd name="T99" fmla="*/ 1494 h 2578"/>
                <a:gd name="T100" fmla="*/ 406 w 2478"/>
                <a:gd name="T101" fmla="*/ 1724 h 2578"/>
                <a:gd name="T102" fmla="*/ 538 w 2478"/>
                <a:gd name="T103" fmla="*/ 1928 h 2578"/>
                <a:gd name="T104" fmla="*/ 680 w 2478"/>
                <a:gd name="T105" fmla="*/ 2072 h 2578"/>
                <a:gd name="T106" fmla="*/ 886 w 2478"/>
                <a:gd name="T107" fmla="*/ 2202 h 2578"/>
                <a:gd name="T108" fmla="*/ 1120 w 2478"/>
                <a:gd name="T109" fmla="*/ 2276 h 2578"/>
                <a:gd name="T110" fmla="*/ 1324 w 2478"/>
                <a:gd name="T111" fmla="*/ 2294 h 2578"/>
                <a:gd name="T112" fmla="*/ 1630 w 2478"/>
                <a:gd name="T113" fmla="*/ 2242 h 2578"/>
                <a:gd name="T114" fmla="*/ 1856 w 2478"/>
                <a:gd name="T115" fmla="*/ 2124 h 2578"/>
                <a:gd name="T116" fmla="*/ 2090 w 2478"/>
                <a:gd name="T117" fmla="*/ 1900 h 2578"/>
                <a:gd name="T118" fmla="*/ 2192 w 2478"/>
                <a:gd name="T119" fmla="*/ 1750 h 2578"/>
                <a:gd name="T120" fmla="*/ 2290 w 2478"/>
                <a:gd name="T121" fmla="*/ 1704 h 2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78" h="2578">
                  <a:moveTo>
                    <a:pt x="2314" y="1704"/>
                  </a:moveTo>
                  <a:lnTo>
                    <a:pt x="2314" y="1704"/>
                  </a:lnTo>
                  <a:lnTo>
                    <a:pt x="2330" y="1704"/>
                  </a:lnTo>
                  <a:lnTo>
                    <a:pt x="2346" y="1706"/>
                  </a:lnTo>
                  <a:lnTo>
                    <a:pt x="2360" y="1710"/>
                  </a:lnTo>
                  <a:lnTo>
                    <a:pt x="2376" y="1716"/>
                  </a:lnTo>
                  <a:lnTo>
                    <a:pt x="2390" y="1722"/>
                  </a:lnTo>
                  <a:lnTo>
                    <a:pt x="2404" y="1730"/>
                  </a:lnTo>
                  <a:lnTo>
                    <a:pt x="2416" y="1740"/>
                  </a:lnTo>
                  <a:lnTo>
                    <a:pt x="2428" y="1752"/>
                  </a:lnTo>
                  <a:lnTo>
                    <a:pt x="2428" y="1752"/>
                  </a:lnTo>
                  <a:lnTo>
                    <a:pt x="2440" y="1764"/>
                  </a:lnTo>
                  <a:lnTo>
                    <a:pt x="2450" y="1778"/>
                  </a:lnTo>
                  <a:lnTo>
                    <a:pt x="2458" y="1790"/>
                  </a:lnTo>
                  <a:lnTo>
                    <a:pt x="2464" y="1804"/>
                  </a:lnTo>
                  <a:lnTo>
                    <a:pt x="2470" y="1820"/>
                  </a:lnTo>
                  <a:lnTo>
                    <a:pt x="2474" y="1834"/>
                  </a:lnTo>
                  <a:lnTo>
                    <a:pt x="2476" y="1850"/>
                  </a:lnTo>
                  <a:lnTo>
                    <a:pt x="2478" y="1866"/>
                  </a:lnTo>
                  <a:lnTo>
                    <a:pt x="2478" y="1866"/>
                  </a:lnTo>
                  <a:lnTo>
                    <a:pt x="2476" y="1890"/>
                  </a:lnTo>
                  <a:lnTo>
                    <a:pt x="2470" y="1916"/>
                  </a:lnTo>
                  <a:lnTo>
                    <a:pt x="2460" y="1940"/>
                  </a:lnTo>
                  <a:lnTo>
                    <a:pt x="2446" y="1964"/>
                  </a:lnTo>
                  <a:lnTo>
                    <a:pt x="2446" y="1964"/>
                  </a:lnTo>
                  <a:lnTo>
                    <a:pt x="2424" y="2000"/>
                  </a:lnTo>
                  <a:lnTo>
                    <a:pt x="2402" y="2034"/>
                  </a:lnTo>
                  <a:lnTo>
                    <a:pt x="2378" y="2066"/>
                  </a:lnTo>
                  <a:lnTo>
                    <a:pt x="2352" y="2100"/>
                  </a:lnTo>
                  <a:lnTo>
                    <a:pt x="2326" y="2130"/>
                  </a:lnTo>
                  <a:lnTo>
                    <a:pt x="2300" y="2162"/>
                  </a:lnTo>
                  <a:lnTo>
                    <a:pt x="2272" y="2192"/>
                  </a:lnTo>
                  <a:lnTo>
                    <a:pt x="2244" y="2220"/>
                  </a:lnTo>
                  <a:lnTo>
                    <a:pt x="2214" y="2248"/>
                  </a:lnTo>
                  <a:lnTo>
                    <a:pt x="2182" y="2274"/>
                  </a:lnTo>
                  <a:lnTo>
                    <a:pt x="2152" y="2300"/>
                  </a:lnTo>
                  <a:lnTo>
                    <a:pt x="2118" y="2324"/>
                  </a:lnTo>
                  <a:lnTo>
                    <a:pt x="2084" y="2348"/>
                  </a:lnTo>
                  <a:lnTo>
                    <a:pt x="2050" y="2372"/>
                  </a:lnTo>
                  <a:lnTo>
                    <a:pt x="2014" y="2394"/>
                  </a:lnTo>
                  <a:lnTo>
                    <a:pt x="1978" y="2414"/>
                  </a:lnTo>
                  <a:lnTo>
                    <a:pt x="1978" y="2414"/>
                  </a:lnTo>
                  <a:lnTo>
                    <a:pt x="1942" y="2434"/>
                  </a:lnTo>
                  <a:lnTo>
                    <a:pt x="1904" y="2452"/>
                  </a:lnTo>
                  <a:lnTo>
                    <a:pt x="1866" y="2470"/>
                  </a:lnTo>
                  <a:lnTo>
                    <a:pt x="1826" y="2486"/>
                  </a:lnTo>
                  <a:lnTo>
                    <a:pt x="1788" y="2500"/>
                  </a:lnTo>
                  <a:lnTo>
                    <a:pt x="1748" y="2514"/>
                  </a:lnTo>
                  <a:lnTo>
                    <a:pt x="1708" y="2526"/>
                  </a:lnTo>
                  <a:lnTo>
                    <a:pt x="1668" y="2536"/>
                  </a:lnTo>
                  <a:lnTo>
                    <a:pt x="1628" y="2546"/>
                  </a:lnTo>
                  <a:lnTo>
                    <a:pt x="1586" y="2554"/>
                  </a:lnTo>
                  <a:lnTo>
                    <a:pt x="1544" y="2562"/>
                  </a:lnTo>
                  <a:lnTo>
                    <a:pt x="1502" y="2568"/>
                  </a:lnTo>
                  <a:lnTo>
                    <a:pt x="1460" y="2572"/>
                  </a:lnTo>
                  <a:lnTo>
                    <a:pt x="1416" y="2574"/>
                  </a:lnTo>
                  <a:lnTo>
                    <a:pt x="1374" y="2576"/>
                  </a:lnTo>
                  <a:lnTo>
                    <a:pt x="1330" y="2578"/>
                  </a:lnTo>
                  <a:lnTo>
                    <a:pt x="1330" y="2578"/>
                  </a:lnTo>
                  <a:lnTo>
                    <a:pt x="1262" y="2576"/>
                  </a:lnTo>
                  <a:lnTo>
                    <a:pt x="1194" y="2572"/>
                  </a:lnTo>
                  <a:lnTo>
                    <a:pt x="1128" y="2564"/>
                  </a:lnTo>
                  <a:lnTo>
                    <a:pt x="1064" y="2554"/>
                  </a:lnTo>
                  <a:lnTo>
                    <a:pt x="1000" y="2540"/>
                  </a:lnTo>
                  <a:lnTo>
                    <a:pt x="938" y="2524"/>
                  </a:lnTo>
                  <a:lnTo>
                    <a:pt x="878" y="2506"/>
                  </a:lnTo>
                  <a:lnTo>
                    <a:pt x="818" y="2484"/>
                  </a:lnTo>
                  <a:lnTo>
                    <a:pt x="760" y="2458"/>
                  </a:lnTo>
                  <a:lnTo>
                    <a:pt x="704" y="2430"/>
                  </a:lnTo>
                  <a:lnTo>
                    <a:pt x="648" y="2400"/>
                  </a:lnTo>
                  <a:lnTo>
                    <a:pt x="594" y="2366"/>
                  </a:lnTo>
                  <a:lnTo>
                    <a:pt x="540" y="2330"/>
                  </a:lnTo>
                  <a:lnTo>
                    <a:pt x="488" y="2290"/>
                  </a:lnTo>
                  <a:lnTo>
                    <a:pt x="438" y="2248"/>
                  </a:lnTo>
                  <a:lnTo>
                    <a:pt x="390" y="2202"/>
                  </a:lnTo>
                  <a:lnTo>
                    <a:pt x="390" y="2202"/>
                  </a:lnTo>
                  <a:lnTo>
                    <a:pt x="342" y="2154"/>
                  </a:lnTo>
                  <a:lnTo>
                    <a:pt x="298" y="2106"/>
                  </a:lnTo>
                  <a:lnTo>
                    <a:pt x="258" y="2056"/>
                  </a:lnTo>
                  <a:lnTo>
                    <a:pt x="220" y="2004"/>
                  </a:lnTo>
                  <a:lnTo>
                    <a:pt x="184" y="1952"/>
                  </a:lnTo>
                  <a:lnTo>
                    <a:pt x="152" y="1898"/>
                  </a:lnTo>
                  <a:lnTo>
                    <a:pt x="124" y="1842"/>
                  </a:lnTo>
                  <a:lnTo>
                    <a:pt x="98" y="1786"/>
                  </a:lnTo>
                  <a:lnTo>
                    <a:pt x="76" y="1728"/>
                  </a:lnTo>
                  <a:lnTo>
                    <a:pt x="56" y="1670"/>
                  </a:lnTo>
                  <a:lnTo>
                    <a:pt x="38" y="1608"/>
                  </a:lnTo>
                  <a:lnTo>
                    <a:pt x="26" y="1548"/>
                  </a:lnTo>
                  <a:lnTo>
                    <a:pt x="14" y="1484"/>
                  </a:lnTo>
                  <a:lnTo>
                    <a:pt x="6" y="1420"/>
                  </a:lnTo>
                  <a:lnTo>
                    <a:pt x="2" y="1354"/>
                  </a:lnTo>
                  <a:lnTo>
                    <a:pt x="0" y="1288"/>
                  </a:lnTo>
                  <a:lnTo>
                    <a:pt x="0" y="1288"/>
                  </a:lnTo>
                  <a:lnTo>
                    <a:pt x="2" y="1222"/>
                  </a:lnTo>
                  <a:lnTo>
                    <a:pt x="6" y="1156"/>
                  </a:lnTo>
                  <a:lnTo>
                    <a:pt x="14" y="1092"/>
                  </a:lnTo>
                  <a:lnTo>
                    <a:pt x="26" y="1030"/>
                  </a:lnTo>
                  <a:lnTo>
                    <a:pt x="38" y="968"/>
                  </a:lnTo>
                  <a:lnTo>
                    <a:pt x="56" y="908"/>
                  </a:lnTo>
                  <a:lnTo>
                    <a:pt x="76" y="848"/>
                  </a:lnTo>
                  <a:lnTo>
                    <a:pt x="98" y="790"/>
                  </a:lnTo>
                  <a:lnTo>
                    <a:pt x="124" y="734"/>
                  </a:lnTo>
                  <a:lnTo>
                    <a:pt x="152" y="678"/>
                  </a:lnTo>
                  <a:lnTo>
                    <a:pt x="184" y="626"/>
                  </a:lnTo>
                  <a:lnTo>
                    <a:pt x="220" y="572"/>
                  </a:lnTo>
                  <a:lnTo>
                    <a:pt x="258" y="522"/>
                  </a:lnTo>
                  <a:lnTo>
                    <a:pt x="298" y="470"/>
                  </a:lnTo>
                  <a:lnTo>
                    <a:pt x="342" y="422"/>
                  </a:lnTo>
                  <a:lnTo>
                    <a:pt x="390" y="374"/>
                  </a:lnTo>
                  <a:lnTo>
                    <a:pt x="390" y="374"/>
                  </a:lnTo>
                  <a:lnTo>
                    <a:pt x="438" y="330"/>
                  </a:lnTo>
                  <a:lnTo>
                    <a:pt x="488" y="286"/>
                  </a:lnTo>
                  <a:lnTo>
                    <a:pt x="540" y="248"/>
                  </a:lnTo>
                  <a:lnTo>
                    <a:pt x="594" y="210"/>
                  </a:lnTo>
                  <a:lnTo>
                    <a:pt x="648" y="176"/>
                  </a:lnTo>
                  <a:lnTo>
                    <a:pt x="704" y="146"/>
                  </a:lnTo>
                  <a:lnTo>
                    <a:pt x="760" y="118"/>
                  </a:lnTo>
                  <a:lnTo>
                    <a:pt x="818" y="94"/>
                  </a:lnTo>
                  <a:lnTo>
                    <a:pt x="878" y="72"/>
                  </a:lnTo>
                  <a:lnTo>
                    <a:pt x="938" y="52"/>
                  </a:lnTo>
                  <a:lnTo>
                    <a:pt x="1000" y="36"/>
                  </a:lnTo>
                  <a:lnTo>
                    <a:pt x="1064" y="22"/>
                  </a:lnTo>
                  <a:lnTo>
                    <a:pt x="1128" y="12"/>
                  </a:lnTo>
                  <a:lnTo>
                    <a:pt x="1194" y="6"/>
                  </a:lnTo>
                  <a:lnTo>
                    <a:pt x="1262" y="0"/>
                  </a:lnTo>
                  <a:lnTo>
                    <a:pt x="1330" y="0"/>
                  </a:lnTo>
                  <a:lnTo>
                    <a:pt x="1330" y="0"/>
                  </a:lnTo>
                  <a:lnTo>
                    <a:pt x="1372" y="0"/>
                  </a:lnTo>
                  <a:lnTo>
                    <a:pt x="1416" y="2"/>
                  </a:lnTo>
                  <a:lnTo>
                    <a:pt x="1458" y="6"/>
                  </a:lnTo>
                  <a:lnTo>
                    <a:pt x="1500" y="10"/>
                  </a:lnTo>
                  <a:lnTo>
                    <a:pt x="1542" y="16"/>
                  </a:lnTo>
                  <a:lnTo>
                    <a:pt x="1584" y="22"/>
                  </a:lnTo>
                  <a:lnTo>
                    <a:pt x="1624" y="32"/>
                  </a:lnTo>
                  <a:lnTo>
                    <a:pt x="1666" y="40"/>
                  </a:lnTo>
                  <a:lnTo>
                    <a:pt x="1706" y="52"/>
                  </a:lnTo>
                  <a:lnTo>
                    <a:pt x="1746" y="64"/>
                  </a:lnTo>
                  <a:lnTo>
                    <a:pt x="1784" y="78"/>
                  </a:lnTo>
                  <a:lnTo>
                    <a:pt x="1824" y="92"/>
                  </a:lnTo>
                  <a:lnTo>
                    <a:pt x="1862" y="108"/>
                  </a:lnTo>
                  <a:lnTo>
                    <a:pt x="1900" y="126"/>
                  </a:lnTo>
                  <a:lnTo>
                    <a:pt x="1938" y="144"/>
                  </a:lnTo>
                  <a:lnTo>
                    <a:pt x="1976" y="164"/>
                  </a:lnTo>
                  <a:lnTo>
                    <a:pt x="1976" y="164"/>
                  </a:lnTo>
                  <a:lnTo>
                    <a:pt x="2012" y="186"/>
                  </a:lnTo>
                  <a:lnTo>
                    <a:pt x="2048" y="208"/>
                  </a:lnTo>
                  <a:lnTo>
                    <a:pt x="2084" y="232"/>
                  </a:lnTo>
                  <a:lnTo>
                    <a:pt x="2118" y="256"/>
                  </a:lnTo>
                  <a:lnTo>
                    <a:pt x="2150" y="280"/>
                  </a:lnTo>
                  <a:lnTo>
                    <a:pt x="2182" y="306"/>
                  </a:lnTo>
                  <a:lnTo>
                    <a:pt x="2212" y="332"/>
                  </a:lnTo>
                  <a:lnTo>
                    <a:pt x="2242" y="360"/>
                  </a:lnTo>
                  <a:lnTo>
                    <a:pt x="2272" y="388"/>
                  </a:lnTo>
                  <a:lnTo>
                    <a:pt x="2300" y="418"/>
                  </a:lnTo>
                  <a:lnTo>
                    <a:pt x="2326" y="448"/>
                  </a:lnTo>
                  <a:lnTo>
                    <a:pt x="2352" y="480"/>
                  </a:lnTo>
                  <a:lnTo>
                    <a:pt x="2378" y="512"/>
                  </a:lnTo>
                  <a:lnTo>
                    <a:pt x="2402" y="544"/>
                  </a:lnTo>
                  <a:lnTo>
                    <a:pt x="2424" y="578"/>
                  </a:lnTo>
                  <a:lnTo>
                    <a:pt x="2446" y="612"/>
                  </a:lnTo>
                  <a:lnTo>
                    <a:pt x="2446" y="612"/>
                  </a:lnTo>
                  <a:lnTo>
                    <a:pt x="2460" y="638"/>
                  </a:lnTo>
                  <a:lnTo>
                    <a:pt x="2470" y="664"/>
                  </a:lnTo>
                  <a:lnTo>
                    <a:pt x="2476" y="688"/>
                  </a:lnTo>
                  <a:lnTo>
                    <a:pt x="2478" y="710"/>
                  </a:lnTo>
                  <a:lnTo>
                    <a:pt x="2478" y="710"/>
                  </a:lnTo>
                  <a:lnTo>
                    <a:pt x="2476" y="728"/>
                  </a:lnTo>
                  <a:lnTo>
                    <a:pt x="2474" y="744"/>
                  </a:lnTo>
                  <a:lnTo>
                    <a:pt x="2470" y="760"/>
                  </a:lnTo>
                  <a:lnTo>
                    <a:pt x="2464" y="776"/>
                  </a:lnTo>
                  <a:lnTo>
                    <a:pt x="2458" y="790"/>
                  </a:lnTo>
                  <a:lnTo>
                    <a:pt x="2450" y="804"/>
                  </a:lnTo>
                  <a:lnTo>
                    <a:pt x="2440" y="816"/>
                  </a:lnTo>
                  <a:lnTo>
                    <a:pt x="2428" y="830"/>
                  </a:lnTo>
                  <a:lnTo>
                    <a:pt x="2428" y="830"/>
                  </a:lnTo>
                  <a:lnTo>
                    <a:pt x="2416" y="840"/>
                  </a:lnTo>
                  <a:lnTo>
                    <a:pt x="2404" y="850"/>
                  </a:lnTo>
                  <a:lnTo>
                    <a:pt x="2390" y="858"/>
                  </a:lnTo>
                  <a:lnTo>
                    <a:pt x="2376" y="866"/>
                  </a:lnTo>
                  <a:lnTo>
                    <a:pt x="2360" y="870"/>
                  </a:lnTo>
                  <a:lnTo>
                    <a:pt x="2346" y="874"/>
                  </a:lnTo>
                  <a:lnTo>
                    <a:pt x="2330" y="878"/>
                  </a:lnTo>
                  <a:lnTo>
                    <a:pt x="2314" y="878"/>
                  </a:lnTo>
                  <a:lnTo>
                    <a:pt x="2314" y="878"/>
                  </a:lnTo>
                  <a:lnTo>
                    <a:pt x="2292" y="876"/>
                  </a:lnTo>
                  <a:lnTo>
                    <a:pt x="2270" y="872"/>
                  </a:lnTo>
                  <a:lnTo>
                    <a:pt x="2250" y="866"/>
                  </a:lnTo>
                  <a:lnTo>
                    <a:pt x="2230" y="856"/>
                  </a:lnTo>
                  <a:lnTo>
                    <a:pt x="2212" y="844"/>
                  </a:lnTo>
                  <a:lnTo>
                    <a:pt x="2194" y="828"/>
                  </a:lnTo>
                  <a:lnTo>
                    <a:pt x="2178" y="810"/>
                  </a:lnTo>
                  <a:lnTo>
                    <a:pt x="2164" y="790"/>
                  </a:lnTo>
                  <a:lnTo>
                    <a:pt x="2164" y="790"/>
                  </a:lnTo>
                  <a:lnTo>
                    <a:pt x="2128" y="732"/>
                  </a:lnTo>
                  <a:lnTo>
                    <a:pt x="2090" y="676"/>
                  </a:lnTo>
                  <a:lnTo>
                    <a:pt x="2048" y="626"/>
                  </a:lnTo>
                  <a:lnTo>
                    <a:pt x="2004" y="578"/>
                  </a:lnTo>
                  <a:lnTo>
                    <a:pt x="1958" y="532"/>
                  </a:lnTo>
                  <a:lnTo>
                    <a:pt x="1908" y="492"/>
                  </a:lnTo>
                  <a:lnTo>
                    <a:pt x="1856" y="454"/>
                  </a:lnTo>
                  <a:lnTo>
                    <a:pt x="1802" y="418"/>
                  </a:lnTo>
                  <a:lnTo>
                    <a:pt x="1802" y="418"/>
                  </a:lnTo>
                  <a:lnTo>
                    <a:pt x="1746" y="388"/>
                  </a:lnTo>
                  <a:lnTo>
                    <a:pt x="1688" y="360"/>
                  </a:lnTo>
                  <a:lnTo>
                    <a:pt x="1630" y="338"/>
                  </a:lnTo>
                  <a:lnTo>
                    <a:pt x="1570" y="320"/>
                  </a:lnTo>
                  <a:lnTo>
                    <a:pt x="1510" y="304"/>
                  </a:lnTo>
                  <a:lnTo>
                    <a:pt x="1450" y="294"/>
                  </a:lnTo>
                  <a:lnTo>
                    <a:pt x="1388" y="288"/>
                  </a:lnTo>
                  <a:lnTo>
                    <a:pt x="1324" y="286"/>
                  </a:lnTo>
                  <a:lnTo>
                    <a:pt x="1324" y="286"/>
                  </a:lnTo>
                  <a:lnTo>
                    <a:pt x="1272" y="288"/>
                  </a:lnTo>
                  <a:lnTo>
                    <a:pt x="1220" y="290"/>
                  </a:lnTo>
                  <a:lnTo>
                    <a:pt x="1170" y="296"/>
                  </a:lnTo>
                  <a:lnTo>
                    <a:pt x="1120" y="304"/>
                  </a:lnTo>
                  <a:lnTo>
                    <a:pt x="1070" y="314"/>
                  </a:lnTo>
                  <a:lnTo>
                    <a:pt x="1024" y="326"/>
                  </a:lnTo>
                  <a:lnTo>
                    <a:pt x="976" y="342"/>
                  </a:lnTo>
                  <a:lnTo>
                    <a:pt x="932" y="358"/>
                  </a:lnTo>
                  <a:lnTo>
                    <a:pt x="886" y="378"/>
                  </a:lnTo>
                  <a:lnTo>
                    <a:pt x="844" y="400"/>
                  </a:lnTo>
                  <a:lnTo>
                    <a:pt x="800" y="422"/>
                  </a:lnTo>
                  <a:lnTo>
                    <a:pt x="760" y="448"/>
                  </a:lnTo>
                  <a:lnTo>
                    <a:pt x="720" y="478"/>
                  </a:lnTo>
                  <a:lnTo>
                    <a:pt x="680" y="508"/>
                  </a:lnTo>
                  <a:lnTo>
                    <a:pt x="642" y="540"/>
                  </a:lnTo>
                  <a:lnTo>
                    <a:pt x="606" y="576"/>
                  </a:lnTo>
                  <a:lnTo>
                    <a:pt x="606" y="576"/>
                  </a:lnTo>
                  <a:lnTo>
                    <a:pt x="570" y="612"/>
                  </a:lnTo>
                  <a:lnTo>
                    <a:pt x="538" y="650"/>
                  </a:lnTo>
                  <a:lnTo>
                    <a:pt x="506" y="688"/>
                  </a:lnTo>
                  <a:lnTo>
                    <a:pt x="478" y="728"/>
                  </a:lnTo>
                  <a:lnTo>
                    <a:pt x="452" y="770"/>
                  </a:lnTo>
                  <a:lnTo>
                    <a:pt x="428" y="812"/>
                  </a:lnTo>
                  <a:lnTo>
                    <a:pt x="406" y="854"/>
                  </a:lnTo>
                  <a:lnTo>
                    <a:pt x="386" y="898"/>
                  </a:lnTo>
                  <a:lnTo>
                    <a:pt x="370" y="944"/>
                  </a:lnTo>
                  <a:lnTo>
                    <a:pt x="356" y="990"/>
                  </a:lnTo>
                  <a:lnTo>
                    <a:pt x="342" y="1036"/>
                  </a:lnTo>
                  <a:lnTo>
                    <a:pt x="332" y="1084"/>
                  </a:lnTo>
                  <a:lnTo>
                    <a:pt x="324" y="1134"/>
                  </a:lnTo>
                  <a:lnTo>
                    <a:pt x="318" y="1184"/>
                  </a:lnTo>
                  <a:lnTo>
                    <a:pt x="316" y="1236"/>
                  </a:lnTo>
                  <a:lnTo>
                    <a:pt x="314" y="1288"/>
                  </a:lnTo>
                  <a:lnTo>
                    <a:pt x="314" y="1292"/>
                  </a:lnTo>
                  <a:lnTo>
                    <a:pt x="314" y="1292"/>
                  </a:lnTo>
                  <a:lnTo>
                    <a:pt x="316" y="1344"/>
                  </a:lnTo>
                  <a:lnTo>
                    <a:pt x="318" y="1396"/>
                  </a:lnTo>
                  <a:lnTo>
                    <a:pt x="324" y="1446"/>
                  </a:lnTo>
                  <a:lnTo>
                    <a:pt x="332" y="1494"/>
                  </a:lnTo>
                  <a:lnTo>
                    <a:pt x="342" y="1542"/>
                  </a:lnTo>
                  <a:lnTo>
                    <a:pt x="356" y="1590"/>
                  </a:lnTo>
                  <a:lnTo>
                    <a:pt x="370" y="1636"/>
                  </a:lnTo>
                  <a:lnTo>
                    <a:pt x="386" y="1680"/>
                  </a:lnTo>
                  <a:lnTo>
                    <a:pt x="406" y="1724"/>
                  </a:lnTo>
                  <a:lnTo>
                    <a:pt x="428" y="1766"/>
                  </a:lnTo>
                  <a:lnTo>
                    <a:pt x="452" y="1808"/>
                  </a:lnTo>
                  <a:lnTo>
                    <a:pt x="478" y="1850"/>
                  </a:lnTo>
                  <a:lnTo>
                    <a:pt x="506" y="1890"/>
                  </a:lnTo>
                  <a:lnTo>
                    <a:pt x="538" y="1928"/>
                  </a:lnTo>
                  <a:lnTo>
                    <a:pt x="570" y="1966"/>
                  </a:lnTo>
                  <a:lnTo>
                    <a:pt x="606" y="2004"/>
                  </a:lnTo>
                  <a:lnTo>
                    <a:pt x="606" y="2004"/>
                  </a:lnTo>
                  <a:lnTo>
                    <a:pt x="642" y="2038"/>
                  </a:lnTo>
                  <a:lnTo>
                    <a:pt x="680" y="2072"/>
                  </a:lnTo>
                  <a:lnTo>
                    <a:pt x="720" y="2102"/>
                  </a:lnTo>
                  <a:lnTo>
                    <a:pt x="760" y="2130"/>
                  </a:lnTo>
                  <a:lnTo>
                    <a:pt x="800" y="2158"/>
                  </a:lnTo>
                  <a:lnTo>
                    <a:pt x="844" y="2180"/>
                  </a:lnTo>
                  <a:lnTo>
                    <a:pt x="886" y="2202"/>
                  </a:lnTo>
                  <a:lnTo>
                    <a:pt x="932" y="2222"/>
                  </a:lnTo>
                  <a:lnTo>
                    <a:pt x="976" y="2238"/>
                  </a:lnTo>
                  <a:lnTo>
                    <a:pt x="1024" y="2254"/>
                  </a:lnTo>
                  <a:lnTo>
                    <a:pt x="1070" y="2266"/>
                  </a:lnTo>
                  <a:lnTo>
                    <a:pt x="1120" y="2276"/>
                  </a:lnTo>
                  <a:lnTo>
                    <a:pt x="1170" y="2284"/>
                  </a:lnTo>
                  <a:lnTo>
                    <a:pt x="1220" y="2290"/>
                  </a:lnTo>
                  <a:lnTo>
                    <a:pt x="1272" y="2294"/>
                  </a:lnTo>
                  <a:lnTo>
                    <a:pt x="1324" y="2294"/>
                  </a:lnTo>
                  <a:lnTo>
                    <a:pt x="1324" y="2294"/>
                  </a:lnTo>
                  <a:lnTo>
                    <a:pt x="1388" y="2292"/>
                  </a:lnTo>
                  <a:lnTo>
                    <a:pt x="1450" y="2286"/>
                  </a:lnTo>
                  <a:lnTo>
                    <a:pt x="1510" y="2276"/>
                  </a:lnTo>
                  <a:lnTo>
                    <a:pt x="1570" y="2262"/>
                  </a:lnTo>
                  <a:lnTo>
                    <a:pt x="1630" y="2242"/>
                  </a:lnTo>
                  <a:lnTo>
                    <a:pt x="1688" y="2220"/>
                  </a:lnTo>
                  <a:lnTo>
                    <a:pt x="1746" y="2192"/>
                  </a:lnTo>
                  <a:lnTo>
                    <a:pt x="1802" y="2160"/>
                  </a:lnTo>
                  <a:lnTo>
                    <a:pt x="1802" y="2160"/>
                  </a:lnTo>
                  <a:lnTo>
                    <a:pt x="1856" y="2124"/>
                  </a:lnTo>
                  <a:lnTo>
                    <a:pt x="1908" y="2086"/>
                  </a:lnTo>
                  <a:lnTo>
                    <a:pt x="1958" y="2044"/>
                  </a:lnTo>
                  <a:lnTo>
                    <a:pt x="2004" y="2000"/>
                  </a:lnTo>
                  <a:lnTo>
                    <a:pt x="2048" y="1952"/>
                  </a:lnTo>
                  <a:lnTo>
                    <a:pt x="2090" y="1900"/>
                  </a:lnTo>
                  <a:lnTo>
                    <a:pt x="2128" y="1846"/>
                  </a:lnTo>
                  <a:lnTo>
                    <a:pt x="2164" y="1788"/>
                  </a:lnTo>
                  <a:lnTo>
                    <a:pt x="2164" y="1788"/>
                  </a:lnTo>
                  <a:lnTo>
                    <a:pt x="2178" y="1768"/>
                  </a:lnTo>
                  <a:lnTo>
                    <a:pt x="2192" y="1750"/>
                  </a:lnTo>
                  <a:lnTo>
                    <a:pt x="2210" y="1736"/>
                  </a:lnTo>
                  <a:lnTo>
                    <a:pt x="2228" y="1724"/>
                  </a:lnTo>
                  <a:lnTo>
                    <a:pt x="2248" y="1716"/>
                  </a:lnTo>
                  <a:lnTo>
                    <a:pt x="2268" y="1708"/>
                  </a:lnTo>
                  <a:lnTo>
                    <a:pt x="2290" y="1704"/>
                  </a:lnTo>
                  <a:lnTo>
                    <a:pt x="2314" y="1704"/>
                  </a:lnTo>
                  <a:lnTo>
                    <a:pt x="2314" y="170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82" name="Freeform 19"/>
            <p:cNvSpPr>
              <a:spLocks noEditPoints="1"/>
            </p:cNvSpPr>
            <p:nvPr userDrawn="1"/>
          </p:nvSpPr>
          <p:spPr bwMode="auto">
            <a:xfrm>
              <a:off x="5367664" y="3271687"/>
              <a:ext cx="190147" cy="191185"/>
            </a:xfrm>
            <a:custGeom>
              <a:avLst/>
              <a:gdLst>
                <a:gd name="T0" fmla="*/ 2550 w 2564"/>
                <a:gd name="T1" fmla="*/ 1490 h 2578"/>
                <a:gd name="T2" fmla="*/ 2468 w 2564"/>
                <a:gd name="T3" fmla="*/ 1782 h 2578"/>
                <a:gd name="T4" fmla="*/ 2312 w 2564"/>
                <a:gd name="T5" fmla="*/ 2048 h 2578"/>
                <a:gd name="T6" fmla="*/ 2134 w 2564"/>
                <a:gd name="T7" fmla="*/ 2242 h 2578"/>
                <a:gd name="T8" fmla="*/ 1878 w 2564"/>
                <a:gd name="T9" fmla="*/ 2428 h 2578"/>
                <a:gd name="T10" fmla="*/ 1596 w 2564"/>
                <a:gd name="T11" fmla="*/ 2540 h 2578"/>
                <a:gd name="T12" fmla="*/ 1288 w 2564"/>
                <a:gd name="T13" fmla="*/ 2578 h 2578"/>
                <a:gd name="T14" fmla="*/ 1032 w 2564"/>
                <a:gd name="T15" fmla="*/ 2554 h 2578"/>
                <a:gd name="T16" fmla="*/ 740 w 2564"/>
                <a:gd name="T17" fmla="*/ 2460 h 2578"/>
                <a:gd name="T18" fmla="*/ 476 w 2564"/>
                <a:gd name="T19" fmla="*/ 2290 h 2578"/>
                <a:gd name="T20" fmla="*/ 290 w 2564"/>
                <a:gd name="T21" fmla="*/ 2106 h 2578"/>
                <a:gd name="T22" fmla="*/ 120 w 2564"/>
                <a:gd name="T23" fmla="*/ 1846 h 2578"/>
                <a:gd name="T24" fmla="*/ 24 w 2564"/>
                <a:gd name="T25" fmla="*/ 1558 h 2578"/>
                <a:gd name="T26" fmla="*/ 0 w 2564"/>
                <a:gd name="T27" fmla="*/ 1306 h 2578"/>
                <a:gd name="T28" fmla="*/ 36 w 2564"/>
                <a:gd name="T29" fmla="*/ 984 h 2578"/>
                <a:gd name="T30" fmla="*/ 146 w 2564"/>
                <a:gd name="T31" fmla="*/ 692 h 2578"/>
                <a:gd name="T32" fmla="*/ 330 w 2564"/>
                <a:gd name="T33" fmla="*/ 430 h 2578"/>
                <a:gd name="T34" fmla="*/ 520 w 2564"/>
                <a:gd name="T35" fmla="*/ 252 h 2578"/>
                <a:gd name="T36" fmla="*/ 790 w 2564"/>
                <a:gd name="T37" fmla="*/ 96 h 2578"/>
                <a:gd name="T38" fmla="*/ 1092 w 2564"/>
                <a:gd name="T39" fmla="*/ 14 h 2578"/>
                <a:gd name="T40" fmla="*/ 1354 w 2564"/>
                <a:gd name="T41" fmla="*/ 2 h 2578"/>
                <a:gd name="T42" fmla="*/ 1662 w 2564"/>
                <a:gd name="T43" fmla="*/ 54 h 2578"/>
                <a:gd name="T44" fmla="*/ 1940 w 2564"/>
                <a:gd name="T45" fmla="*/ 182 h 2578"/>
                <a:gd name="T46" fmla="*/ 2188 w 2564"/>
                <a:gd name="T47" fmla="*/ 384 h 2578"/>
                <a:gd name="T48" fmla="*/ 2352 w 2564"/>
                <a:gd name="T49" fmla="*/ 586 h 2578"/>
                <a:gd name="T50" fmla="*/ 2492 w 2564"/>
                <a:gd name="T51" fmla="*/ 864 h 2578"/>
                <a:gd name="T52" fmla="*/ 2558 w 2564"/>
                <a:gd name="T53" fmla="*/ 1172 h 2578"/>
                <a:gd name="T54" fmla="*/ 312 w 2564"/>
                <a:gd name="T55" fmla="*/ 1302 h 2578"/>
                <a:gd name="T56" fmla="*/ 340 w 2564"/>
                <a:gd name="T57" fmla="*/ 1548 h 2578"/>
                <a:gd name="T58" fmla="*/ 424 w 2564"/>
                <a:gd name="T59" fmla="*/ 1768 h 2578"/>
                <a:gd name="T60" fmla="*/ 564 w 2564"/>
                <a:gd name="T61" fmla="*/ 1968 h 2578"/>
                <a:gd name="T62" fmla="*/ 712 w 2564"/>
                <a:gd name="T63" fmla="*/ 2104 h 2578"/>
                <a:gd name="T64" fmla="*/ 916 w 2564"/>
                <a:gd name="T65" fmla="*/ 2222 h 2578"/>
                <a:gd name="T66" fmla="*/ 1142 w 2564"/>
                <a:gd name="T67" fmla="*/ 2286 h 2578"/>
                <a:gd name="T68" fmla="*/ 1338 w 2564"/>
                <a:gd name="T69" fmla="*/ 2294 h 2578"/>
                <a:gd name="T70" fmla="*/ 1572 w 2564"/>
                <a:gd name="T71" fmla="*/ 2254 h 2578"/>
                <a:gd name="T72" fmla="*/ 1784 w 2564"/>
                <a:gd name="T73" fmla="*/ 2156 h 2578"/>
                <a:gd name="T74" fmla="*/ 1970 w 2564"/>
                <a:gd name="T75" fmla="*/ 2000 h 2578"/>
                <a:gd name="T76" fmla="*/ 2092 w 2564"/>
                <a:gd name="T77" fmla="*/ 1844 h 2578"/>
                <a:gd name="T78" fmla="*/ 2196 w 2564"/>
                <a:gd name="T79" fmla="*/ 1626 h 2578"/>
                <a:gd name="T80" fmla="*/ 2246 w 2564"/>
                <a:gd name="T81" fmla="*/ 1380 h 2578"/>
                <a:gd name="T82" fmla="*/ 2246 w 2564"/>
                <a:gd name="T83" fmla="*/ 1176 h 2578"/>
                <a:gd name="T84" fmla="*/ 2196 w 2564"/>
                <a:gd name="T85" fmla="*/ 942 h 2578"/>
                <a:gd name="T86" fmla="*/ 2090 w 2564"/>
                <a:gd name="T87" fmla="*/ 732 h 2578"/>
                <a:gd name="T88" fmla="*/ 1966 w 2564"/>
                <a:gd name="T89" fmla="*/ 578 h 2578"/>
                <a:gd name="T90" fmla="*/ 1778 w 2564"/>
                <a:gd name="T91" fmla="*/ 424 h 2578"/>
                <a:gd name="T92" fmla="*/ 1568 w 2564"/>
                <a:gd name="T93" fmla="*/ 328 h 2578"/>
                <a:gd name="T94" fmla="*/ 1336 w 2564"/>
                <a:gd name="T95" fmla="*/ 288 h 2578"/>
                <a:gd name="T96" fmla="*/ 1140 w 2564"/>
                <a:gd name="T97" fmla="*/ 298 h 2578"/>
                <a:gd name="T98" fmla="*/ 912 w 2564"/>
                <a:gd name="T99" fmla="*/ 362 h 2578"/>
                <a:gd name="T100" fmla="*/ 708 w 2564"/>
                <a:gd name="T101" fmla="*/ 482 h 2578"/>
                <a:gd name="T102" fmla="*/ 562 w 2564"/>
                <a:gd name="T103" fmla="*/ 620 h 2578"/>
                <a:gd name="T104" fmla="*/ 424 w 2564"/>
                <a:gd name="T105" fmla="*/ 822 h 2578"/>
                <a:gd name="T106" fmla="*/ 340 w 2564"/>
                <a:gd name="T107" fmla="*/ 1050 h 2578"/>
                <a:gd name="T108" fmla="*/ 312 w 2564"/>
                <a:gd name="T109" fmla="*/ 1302 h 2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64" h="2578">
                  <a:moveTo>
                    <a:pt x="2564" y="1302"/>
                  </a:moveTo>
                  <a:lnTo>
                    <a:pt x="2564" y="1302"/>
                  </a:lnTo>
                  <a:lnTo>
                    <a:pt x="2562" y="1366"/>
                  </a:lnTo>
                  <a:lnTo>
                    <a:pt x="2558" y="1428"/>
                  </a:lnTo>
                  <a:lnTo>
                    <a:pt x="2550" y="1490"/>
                  </a:lnTo>
                  <a:lnTo>
                    <a:pt x="2540" y="1550"/>
                  </a:lnTo>
                  <a:lnTo>
                    <a:pt x="2526" y="1610"/>
                  </a:lnTo>
                  <a:lnTo>
                    <a:pt x="2510" y="1668"/>
                  </a:lnTo>
                  <a:lnTo>
                    <a:pt x="2490" y="1726"/>
                  </a:lnTo>
                  <a:lnTo>
                    <a:pt x="2468" y="1782"/>
                  </a:lnTo>
                  <a:lnTo>
                    <a:pt x="2444" y="1838"/>
                  </a:lnTo>
                  <a:lnTo>
                    <a:pt x="2414" y="1892"/>
                  </a:lnTo>
                  <a:lnTo>
                    <a:pt x="2384" y="1944"/>
                  </a:lnTo>
                  <a:lnTo>
                    <a:pt x="2350" y="1998"/>
                  </a:lnTo>
                  <a:lnTo>
                    <a:pt x="2312" y="2048"/>
                  </a:lnTo>
                  <a:lnTo>
                    <a:pt x="2272" y="2098"/>
                  </a:lnTo>
                  <a:lnTo>
                    <a:pt x="2228" y="2148"/>
                  </a:lnTo>
                  <a:lnTo>
                    <a:pt x="2182" y="2196"/>
                  </a:lnTo>
                  <a:lnTo>
                    <a:pt x="2182" y="2196"/>
                  </a:lnTo>
                  <a:lnTo>
                    <a:pt x="2134" y="2242"/>
                  </a:lnTo>
                  <a:lnTo>
                    <a:pt x="2084" y="2286"/>
                  </a:lnTo>
                  <a:lnTo>
                    <a:pt x="2034" y="2326"/>
                  </a:lnTo>
                  <a:lnTo>
                    <a:pt x="1984" y="2364"/>
                  </a:lnTo>
                  <a:lnTo>
                    <a:pt x="1930" y="2398"/>
                  </a:lnTo>
                  <a:lnTo>
                    <a:pt x="1878" y="2428"/>
                  </a:lnTo>
                  <a:lnTo>
                    <a:pt x="1824" y="2458"/>
                  </a:lnTo>
                  <a:lnTo>
                    <a:pt x="1768" y="2482"/>
                  </a:lnTo>
                  <a:lnTo>
                    <a:pt x="1712" y="2504"/>
                  </a:lnTo>
                  <a:lnTo>
                    <a:pt x="1654" y="2524"/>
                  </a:lnTo>
                  <a:lnTo>
                    <a:pt x="1596" y="2540"/>
                  </a:lnTo>
                  <a:lnTo>
                    <a:pt x="1536" y="2554"/>
                  </a:lnTo>
                  <a:lnTo>
                    <a:pt x="1476" y="2564"/>
                  </a:lnTo>
                  <a:lnTo>
                    <a:pt x="1414" y="2572"/>
                  </a:lnTo>
                  <a:lnTo>
                    <a:pt x="1352" y="2576"/>
                  </a:lnTo>
                  <a:lnTo>
                    <a:pt x="1288" y="2578"/>
                  </a:lnTo>
                  <a:lnTo>
                    <a:pt x="1288" y="2578"/>
                  </a:lnTo>
                  <a:lnTo>
                    <a:pt x="1222" y="2576"/>
                  </a:lnTo>
                  <a:lnTo>
                    <a:pt x="1158" y="2572"/>
                  </a:lnTo>
                  <a:lnTo>
                    <a:pt x="1094" y="2564"/>
                  </a:lnTo>
                  <a:lnTo>
                    <a:pt x="1032" y="2554"/>
                  </a:lnTo>
                  <a:lnTo>
                    <a:pt x="972" y="2542"/>
                  </a:lnTo>
                  <a:lnTo>
                    <a:pt x="912" y="2526"/>
                  </a:lnTo>
                  <a:lnTo>
                    <a:pt x="854" y="2506"/>
                  </a:lnTo>
                  <a:lnTo>
                    <a:pt x="796" y="2484"/>
                  </a:lnTo>
                  <a:lnTo>
                    <a:pt x="740" y="2460"/>
                  </a:lnTo>
                  <a:lnTo>
                    <a:pt x="684" y="2432"/>
                  </a:lnTo>
                  <a:lnTo>
                    <a:pt x="630" y="2400"/>
                  </a:lnTo>
                  <a:lnTo>
                    <a:pt x="578" y="2366"/>
                  </a:lnTo>
                  <a:lnTo>
                    <a:pt x="526" y="2330"/>
                  </a:lnTo>
                  <a:lnTo>
                    <a:pt x="476" y="2290"/>
                  </a:lnTo>
                  <a:lnTo>
                    <a:pt x="426" y="2248"/>
                  </a:lnTo>
                  <a:lnTo>
                    <a:pt x="378" y="2202"/>
                  </a:lnTo>
                  <a:lnTo>
                    <a:pt x="378" y="2202"/>
                  </a:lnTo>
                  <a:lnTo>
                    <a:pt x="332" y="2156"/>
                  </a:lnTo>
                  <a:lnTo>
                    <a:pt x="290" y="2106"/>
                  </a:lnTo>
                  <a:lnTo>
                    <a:pt x="250" y="2056"/>
                  </a:lnTo>
                  <a:lnTo>
                    <a:pt x="212" y="2006"/>
                  </a:lnTo>
                  <a:lnTo>
                    <a:pt x="178" y="1954"/>
                  </a:lnTo>
                  <a:lnTo>
                    <a:pt x="148" y="1900"/>
                  </a:lnTo>
                  <a:lnTo>
                    <a:pt x="120" y="1846"/>
                  </a:lnTo>
                  <a:lnTo>
                    <a:pt x="94" y="1792"/>
                  </a:lnTo>
                  <a:lnTo>
                    <a:pt x="72" y="1734"/>
                  </a:lnTo>
                  <a:lnTo>
                    <a:pt x="52" y="1676"/>
                  </a:lnTo>
                  <a:lnTo>
                    <a:pt x="36" y="1618"/>
                  </a:lnTo>
                  <a:lnTo>
                    <a:pt x="24" y="1558"/>
                  </a:lnTo>
                  <a:lnTo>
                    <a:pt x="12" y="1496"/>
                  </a:lnTo>
                  <a:lnTo>
                    <a:pt x="6" y="1434"/>
                  </a:lnTo>
                  <a:lnTo>
                    <a:pt x="0" y="1372"/>
                  </a:lnTo>
                  <a:lnTo>
                    <a:pt x="0" y="1306"/>
                  </a:lnTo>
                  <a:lnTo>
                    <a:pt x="0" y="1306"/>
                  </a:lnTo>
                  <a:lnTo>
                    <a:pt x="0" y="1240"/>
                  </a:lnTo>
                  <a:lnTo>
                    <a:pt x="6" y="1174"/>
                  </a:lnTo>
                  <a:lnTo>
                    <a:pt x="12" y="1108"/>
                  </a:lnTo>
                  <a:lnTo>
                    <a:pt x="22" y="1046"/>
                  </a:lnTo>
                  <a:lnTo>
                    <a:pt x="36" y="984"/>
                  </a:lnTo>
                  <a:lnTo>
                    <a:pt x="52" y="922"/>
                  </a:lnTo>
                  <a:lnTo>
                    <a:pt x="72" y="862"/>
                  </a:lnTo>
                  <a:lnTo>
                    <a:pt x="94" y="804"/>
                  </a:lnTo>
                  <a:lnTo>
                    <a:pt x="118" y="746"/>
                  </a:lnTo>
                  <a:lnTo>
                    <a:pt x="146" y="692"/>
                  </a:lnTo>
                  <a:lnTo>
                    <a:pt x="176" y="636"/>
                  </a:lnTo>
                  <a:lnTo>
                    <a:pt x="210" y="582"/>
                  </a:lnTo>
                  <a:lnTo>
                    <a:pt x="246" y="530"/>
                  </a:lnTo>
                  <a:lnTo>
                    <a:pt x="286" y="480"/>
                  </a:lnTo>
                  <a:lnTo>
                    <a:pt x="330" y="430"/>
                  </a:lnTo>
                  <a:lnTo>
                    <a:pt x="374" y="382"/>
                  </a:lnTo>
                  <a:lnTo>
                    <a:pt x="374" y="382"/>
                  </a:lnTo>
                  <a:lnTo>
                    <a:pt x="422" y="336"/>
                  </a:lnTo>
                  <a:lnTo>
                    <a:pt x="470" y="292"/>
                  </a:lnTo>
                  <a:lnTo>
                    <a:pt x="520" y="252"/>
                  </a:lnTo>
                  <a:lnTo>
                    <a:pt x="572" y="214"/>
                  </a:lnTo>
                  <a:lnTo>
                    <a:pt x="624" y="180"/>
                  </a:lnTo>
                  <a:lnTo>
                    <a:pt x="678" y="150"/>
                  </a:lnTo>
                  <a:lnTo>
                    <a:pt x="734" y="120"/>
                  </a:lnTo>
                  <a:lnTo>
                    <a:pt x="790" y="96"/>
                  </a:lnTo>
                  <a:lnTo>
                    <a:pt x="848" y="74"/>
                  </a:lnTo>
                  <a:lnTo>
                    <a:pt x="908" y="54"/>
                  </a:lnTo>
                  <a:lnTo>
                    <a:pt x="968" y="38"/>
                  </a:lnTo>
                  <a:lnTo>
                    <a:pt x="1030" y="24"/>
                  </a:lnTo>
                  <a:lnTo>
                    <a:pt x="1092" y="14"/>
                  </a:lnTo>
                  <a:lnTo>
                    <a:pt x="1156" y="6"/>
                  </a:lnTo>
                  <a:lnTo>
                    <a:pt x="1222" y="2"/>
                  </a:lnTo>
                  <a:lnTo>
                    <a:pt x="1288" y="0"/>
                  </a:lnTo>
                  <a:lnTo>
                    <a:pt x="1288" y="0"/>
                  </a:lnTo>
                  <a:lnTo>
                    <a:pt x="1354" y="2"/>
                  </a:lnTo>
                  <a:lnTo>
                    <a:pt x="1418" y="6"/>
                  </a:lnTo>
                  <a:lnTo>
                    <a:pt x="1480" y="14"/>
                  </a:lnTo>
                  <a:lnTo>
                    <a:pt x="1542" y="24"/>
                  </a:lnTo>
                  <a:lnTo>
                    <a:pt x="1602" y="38"/>
                  </a:lnTo>
                  <a:lnTo>
                    <a:pt x="1662" y="54"/>
                  </a:lnTo>
                  <a:lnTo>
                    <a:pt x="1720" y="74"/>
                  </a:lnTo>
                  <a:lnTo>
                    <a:pt x="1776" y="96"/>
                  </a:lnTo>
                  <a:lnTo>
                    <a:pt x="1832" y="122"/>
                  </a:lnTo>
                  <a:lnTo>
                    <a:pt x="1886" y="150"/>
                  </a:lnTo>
                  <a:lnTo>
                    <a:pt x="1940" y="182"/>
                  </a:lnTo>
                  <a:lnTo>
                    <a:pt x="1992" y="216"/>
                  </a:lnTo>
                  <a:lnTo>
                    <a:pt x="2042" y="254"/>
                  </a:lnTo>
                  <a:lnTo>
                    <a:pt x="2092" y="294"/>
                  </a:lnTo>
                  <a:lnTo>
                    <a:pt x="2142" y="338"/>
                  </a:lnTo>
                  <a:lnTo>
                    <a:pt x="2188" y="384"/>
                  </a:lnTo>
                  <a:lnTo>
                    <a:pt x="2188" y="384"/>
                  </a:lnTo>
                  <a:lnTo>
                    <a:pt x="2234" y="432"/>
                  </a:lnTo>
                  <a:lnTo>
                    <a:pt x="2276" y="482"/>
                  </a:lnTo>
                  <a:lnTo>
                    <a:pt x="2316" y="534"/>
                  </a:lnTo>
                  <a:lnTo>
                    <a:pt x="2352" y="586"/>
                  </a:lnTo>
                  <a:lnTo>
                    <a:pt x="2386" y="638"/>
                  </a:lnTo>
                  <a:lnTo>
                    <a:pt x="2418" y="694"/>
                  </a:lnTo>
                  <a:lnTo>
                    <a:pt x="2446" y="748"/>
                  </a:lnTo>
                  <a:lnTo>
                    <a:pt x="2470" y="806"/>
                  </a:lnTo>
                  <a:lnTo>
                    <a:pt x="2492" y="864"/>
                  </a:lnTo>
                  <a:lnTo>
                    <a:pt x="2512" y="922"/>
                  </a:lnTo>
                  <a:lnTo>
                    <a:pt x="2528" y="984"/>
                  </a:lnTo>
                  <a:lnTo>
                    <a:pt x="2540" y="1044"/>
                  </a:lnTo>
                  <a:lnTo>
                    <a:pt x="2550" y="1108"/>
                  </a:lnTo>
                  <a:lnTo>
                    <a:pt x="2558" y="1172"/>
                  </a:lnTo>
                  <a:lnTo>
                    <a:pt x="2562" y="1236"/>
                  </a:lnTo>
                  <a:lnTo>
                    <a:pt x="2564" y="1302"/>
                  </a:lnTo>
                  <a:lnTo>
                    <a:pt x="2564" y="1302"/>
                  </a:lnTo>
                  <a:close/>
                  <a:moveTo>
                    <a:pt x="312" y="1302"/>
                  </a:moveTo>
                  <a:lnTo>
                    <a:pt x="312" y="1302"/>
                  </a:lnTo>
                  <a:lnTo>
                    <a:pt x="314" y="1354"/>
                  </a:lnTo>
                  <a:lnTo>
                    <a:pt x="318" y="1404"/>
                  </a:lnTo>
                  <a:lnTo>
                    <a:pt x="322" y="1452"/>
                  </a:lnTo>
                  <a:lnTo>
                    <a:pt x="330" y="1500"/>
                  </a:lnTo>
                  <a:lnTo>
                    <a:pt x="340" y="1548"/>
                  </a:lnTo>
                  <a:lnTo>
                    <a:pt x="354" y="1594"/>
                  </a:lnTo>
                  <a:lnTo>
                    <a:pt x="368" y="1638"/>
                  </a:lnTo>
                  <a:lnTo>
                    <a:pt x="384" y="1684"/>
                  </a:lnTo>
                  <a:lnTo>
                    <a:pt x="404" y="1726"/>
                  </a:lnTo>
                  <a:lnTo>
                    <a:pt x="424" y="1768"/>
                  </a:lnTo>
                  <a:lnTo>
                    <a:pt x="448" y="1810"/>
                  </a:lnTo>
                  <a:lnTo>
                    <a:pt x="474" y="1852"/>
                  </a:lnTo>
                  <a:lnTo>
                    <a:pt x="502" y="1890"/>
                  </a:lnTo>
                  <a:lnTo>
                    <a:pt x="532" y="1930"/>
                  </a:lnTo>
                  <a:lnTo>
                    <a:pt x="564" y="1968"/>
                  </a:lnTo>
                  <a:lnTo>
                    <a:pt x="600" y="2004"/>
                  </a:lnTo>
                  <a:lnTo>
                    <a:pt x="600" y="2004"/>
                  </a:lnTo>
                  <a:lnTo>
                    <a:pt x="636" y="2040"/>
                  </a:lnTo>
                  <a:lnTo>
                    <a:pt x="674" y="2072"/>
                  </a:lnTo>
                  <a:lnTo>
                    <a:pt x="712" y="2104"/>
                  </a:lnTo>
                  <a:lnTo>
                    <a:pt x="750" y="2132"/>
                  </a:lnTo>
                  <a:lnTo>
                    <a:pt x="790" y="2158"/>
                  </a:lnTo>
                  <a:lnTo>
                    <a:pt x="830" y="2182"/>
                  </a:lnTo>
                  <a:lnTo>
                    <a:pt x="872" y="2204"/>
                  </a:lnTo>
                  <a:lnTo>
                    <a:pt x="916" y="2222"/>
                  </a:lnTo>
                  <a:lnTo>
                    <a:pt x="958" y="2240"/>
                  </a:lnTo>
                  <a:lnTo>
                    <a:pt x="1004" y="2254"/>
                  </a:lnTo>
                  <a:lnTo>
                    <a:pt x="1048" y="2268"/>
                  </a:lnTo>
                  <a:lnTo>
                    <a:pt x="1094" y="2278"/>
                  </a:lnTo>
                  <a:lnTo>
                    <a:pt x="1142" y="2286"/>
                  </a:lnTo>
                  <a:lnTo>
                    <a:pt x="1190" y="2290"/>
                  </a:lnTo>
                  <a:lnTo>
                    <a:pt x="1238" y="2294"/>
                  </a:lnTo>
                  <a:lnTo>
                    <a:pt x="1288" y="2296"/>
                  </a:lnTo>
                  <a:lnTo>
                    <a:pt x="1288" y="2296"/>
                  </a:lnTo>
                  <a:lnTo>
                    <a:pt x="1338" y="2294"/>
                  </a:lnTo>
                  <a:lnTo>
                    <a:pt x="1386" y="2290"/>
                  </a:lnTo>
                  <a:lnTo>
                    <a:pt x="1434" y="2286"/>
                  </a:lnTo>
                  <a:lnTo>
                    <a:pt x="1482" y="2278"/>
                  </a:lnTo>
                  <a:lnTo>
                    <a:pt x="1528" y="2266"/>
                  </a:lnTo>
                  <a:lnTo>
                    <a:pt x="1572" y="2254"/>
                  </a:lnTo>
                  <a:lnTo>
                    <a:pt x="1616" y="2238"/>
                  </a:lnTo>
                  <a:lnTo>
                    <a:pt x="1660" y="2222"/>
                  </a:lnTo>
                  <a:lnTo>
                    <a:pt x="1702" y="2202"/>
                  </a:lnTo>
                  <a:lnTo>
                    <a:pt x="1742" y="2180"/>
                  </a:lnTo>
                  <a:lnTo>
                    <a:pt x="1784" y="2156"/>
                  </a:lnTo>
                  <a:lnTo>
                    <a:pt x="1822" y="2130"/>
                  </a:lnTo>
                  <a:lnTo>
                    <a:pt x="1860" y="2100"/>
                  </a:lnTo>
                  <a:lnTo>
                    <a:pt x="1898" y="2070"/>
                  </a:lnTo>
                  <a:lnTo>
                    <a:pt x="1934" y="2036"/>
                  </a:lnTo>
                  <a:lnTo>
                    <a:pt x="1970" y="2000"/>
                  </a:lnTo>
                  <a:lnTo>
                    <a:pt x="1970" y="2000"/>
                  </a:lnTo>
                  <a:lnTo>
                    <a:pt x="2004" y="1962"/>
                  </a:lnTo>
                  <a:lnTo>
                    <a:pt x="2036" y="1924"/>
                  </a:lnTo>
                  <a:lnTo>
                    <a:pt x="2066" y="1884"/>
                  </a:lnTo>
                  <a:lnTo>
                    <a:pt x="2092" y="1844"/>
                  </a:lnTo>
                  <a:lnTo>
                    <a:pt x="2118" y="1802"/>
                  </a:lnTo>
                  <a:lnTo>
                    <a:pt x="2140" y="1760"/>
                  </a:lnTo>
                  <a:lnTo>
                    <a:pt x="2162" y="1716"/>
                  </a:lnTo>
                  <a:lnTo>
                    <a:pt x="2180" y="1670"/>
                  </a:lnTo>
                  <a:lnTo>
                    <a:pt x="2196" y="1626"/>
                  </a:lnTo>
                  <a:lnTo>
                    <a:pt x="2212" y="1578"/>
                  </a:lnTo>
                  <a:lnTo>
                    <a:pt x="2224" y="1530"/>
                  </a:lnTo>
                  <a:lnTo>
                    <a:pt x="2232" y="1482"/>
                  </a:lnTo>
                  <a:lnTo>
                    <a:pt x="2240" y="1432"/>
                  </a:lnTo>
                  <a:lnTo>
                    <a:pt x="2246" y="1380"/>
                  </a:lnTo>
                  <a:lnTo>
                    <a:pt x="2250" y="1328"/>
                  </a:lnTo>
                  <a:lnTo>
                    <a:pt x="2250" y="1276"/>
                  </a:lnTo>
                  <a:lnTo>
                    <a:pt x="2250" y="1276"/>
                  </a:lnTo>
                  <a:lnTo>
                    <a:pt x="2250" y="1226"/>
                  </a:lnTo>
                  <a:lnTo>
                    <a:pt x="2246" y="1176"/>
                  </a:lnTo>
                  <a:lnTo>
                    <a:pt x="2240" y="1128"/>
                  </a:lnTo>
                  <a:lnTo>
                    <a:pt x="2232" y="1080"/>
                  </a:lnTo>
                  <a:lnTo>
                    <a:pt x="2222" y="1034"/>
                  </a:lnTo>
                  <a:lnTo>
                    <a:pt x="2210" y="988"/>
                  </a:lnTo>
                  <a:lnTo>
                    <a:pt x="2196" y="942"/>
                  </a:lnTo>
                  <a:lnTo>
                    <a:pt x="2180" y="898"/>
                  </a:lnTo>
                  <a:lnTo>
                    <a:pt x="2160" y="856"/>
                  </a:lnTo>
                  <a:lnTo>
                    <a:pt x="2140" y="814"/>
                  </a:lnTo>
                  <a:lnTo>
                    <a:pt x="2116" y="772"/>
                  </a:lnTo>
                  <a:lnTo>
                    <a:pt x="2090" y="732"/>
                  </a:lnTo>
                  <a:lnTo>
                    <a:pt x="2062" y="692"/>
                  </a:lnTo>
                  <a:lnTo>
                    <a:pt x="2032" y="654"/>
                  </a:lnTo>
                  <a:lnTo>
                    <a:pt x="2000" y="616"/>
                  </a:lnTo>
                  <a:lnTo>
                    <a:pt x="1966" y="578"/>
                  </a:lnTo>
                  <a:lnTo>
                    <a:pt x="1966" y="578"/>
                  </a:lnTo>
                  <a:lnTo>
                    <a:pt x="1930" y="544"/>
                  </a:lnTo>
                  <a:lnTo>
                    <a:pt x="1892" y="510"/>
                  </a:lnTo>
                  <a:lnTo>
                    <a:pt x="1856" y="480"/>
                  </a:lnTo>
                  <a:lnTo>
                    <a:pt x="1816" y="450"/>
                  </a:lnTo>
                  <a:lnTo>
                    <a:pt x="1778" y="424"/>
                  </a:lnTo>
                  <a:lnTo>
                    <a:pt x="1738" y="400"/>
                  </a:lnTo>
                  <a:lnTo>
                    <a:pt x="1696" y="380"/>
                  </a:lnTo>
                  <a:lnTo>
                    <a:pt x="1654" y="360"/>
                  </a:lnTo>
                  <a:lnTo>
                    <a:pt x="1612" y="342"/>
                  </a:lnTo>
                  <a:lnTo>
                    <a:pt x="1568" y="328"/>
                  </a:lnTo>
                  <a:lnTo>
                    <a:pt x="1524" y="316"/>
                  </a:lnTo>
                  <a:lnTo>
                    <a:pt x="1478" y="306"/>
                  </a:lnTo>
                  <a:lnTo>
                    <a:pt x="1432" y="298"/>
                  </a:lnTo>
                  <a:lnTo>
                    <a:pt x="1384" y="292"/>
                  </a:lnTo>
                  <a:lnTo>
                    <a:pt x="1336" y="288"/>
                  </a:lnTo>
                  <a:lnTo>
                    <a:pt x="1288" y="288"/>
                  </a:lnTo>
                  <a:lnTo>
                    <a:pt x="1288" y="288"/>
                  </a:lnTo>
                  <a:lnTo>
                    <a:pt x="1238" y="288"/>
                  </a:lnTo>
                  <a:lnTo>
                    <a:pt x="1188" y="292"/>
                  </a:lnTo>
                  <a:lnTo>
                    <a:pt x="1140" y="298"/>
                  </a:lnTo>
                  <a:lnTo>
                    <a:pt x="1092" y="306"/>
                  </a:lnTo>
                  <a:lnTo>
                    <a:pt x="1046" y="316"/>
                  </a:lnTo>
                  <a:lnTo>
                    <a:pt x="1000" y="328"/>
                  </a:lnTo>
                  <a:lnTo>
                    <a:pt x="956" y="344"/>
                  </a:lnTo>
                  <a:lnTo>
                    <a:pt x="912" y="362"/>
                  </a:lnTo>
                  <a:lnTo>
                    <a:pt x="870" y="380"/>
                  </a:lnTo>
                  <a:lnTo>
                    <a:pt x="828" y="402"/>
                  </a:lnTo>
                  <a:lnTo>
                    <a:pt x="788" y="426"/>
                  </a:lnTo>
                  <a:lnTo>
                    <a:pt x="748" y="454"/>
                  </a:lnTo>
                  <a:lnTo>
                    <a:pt x="708" y="482"/>
                  </a:lnTo>
                  <a:lnTo>
                    <a:pt x="670" y="514"/>
                  </a:lnTo>
                  <a:lnTo>
                    <a:pt x="634" y="548"/>
                  </a:lnTo>
                  <a:lnTo>
                    <a:pt x="598" y="582"/>
                  </a:lnTo>
                  <a:lnTo>
                    <a:pt x="598" y="582"/>
                  </a:lnTo>
                  <a:lnTo>
                    <a:pt x="562" y="620"/>
                  </a:lnTo>
                  <a:lnTo>
                    <a:pt x="530" y="658"/>
                  </a:lnTo>
                  <a:lnTo>
                    <a:pt x="500" y="698"/>
                  </a:lnTo>
                  <a:lnTo>
                    <a:pt x="472" y="738"/>
                  </a:lnTo>
                  <a:lnTo>
                    <a:pt x="448" y="780"/>
                  </a:lnTo>
                  <a:lnTo>
                    <a:pt x="424" y="822"/>
                  </a:lnTo>
                  <a:lnTo>
                    <a:pt x="402" y="866"/>
                  </a:lnTo>
                  <a:lnTo>
                    <a:pt x="384" y="910"/>
                  </a:lnTo>
                  <a:lnTo>
                    <a:pt x="368" y="956"/>
                  </a:lnTo>
                  <a:lnTo>
                    <a:pt x="352" y="1002"/>
                  </a:lnTo>
                  <a:lnTo>
                    <a:pt x="340" y="1050"/>
                  </a:lnTo>
                  <a:lnTo>
                    <a:pt x="330" y="1098"/>
                  </a:lnTo>
                  <a:lnTo>
                    <a:pt x="322" y="1148"/>
                  </a:lnTo>
                  <a:lnTo>
                    <a:pt x="318" y="1198"/>
                  </a:lnTo>
                  <a:lnTo>
                    <a:pt x="314" y="1250"/>
                  </a:lnTo>
                  <a:lnTo>
                    <a:pt x="312" y="1302"/>
                  </a:lnTo>
                  <a:lnTo>
                    <a:pt x="312" y="130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83" name="Freeform 20"/>
            <p:cNvSpPr>
              <a:spLocks/>
            </p:cNvSpPr>
            <p:nvPr userDrawn="1"/>
          </p:nvSpPr>
          <p:spPr bwMode="auto">
            <a:xfrm>
              <a:off x="5576203" y="3269462"/>
              <a:ext cx="274244" cy="193707"/>
            </a:xfrm>
            <a:custGeom>
              <a:avLst/>
              <a:gdLst>
                <a:gd name="T0" fmla="*/ 1688 w 3698"/>
                <a:gd name="T1" fmla="*/ 988 h 2612"/>
                <a:gd name="T2" fmla="*/ 1662 w 3698"/>
                <a:gd name="T3" fmla="*/ 800 h 2612"/>
                <a:gd name="T4" fmla="*/ 1596 w 3698"/>
                <a:gd name="T5" fmla="*/ 634 h 2612"/>
                <a:gd name="T6" fmla="*/ 1490 w 3698"/>
                <a:gd name="T7" fmla="*/ 494 h 2612"/>
                <a:gd name="T8" fmla="*/ 1386 w 3698"/>
                <a:gd name="T9" fmla="*/ 402 h 2612"/>
                <a:gd name="T10" fmla="*/ 1236 w 3698"/>
                <a:gd name="T11" fmla="*/ 326 h 2612"/>
                <a:gd name="T12" fmla="*/ 1068 w 3698"/>
                <a:gd name="T13" fmla="*/ 290 h 2612"/>
                <a:gd name="T14" fmla="*/ 916 w 3698"/>
                <a:gd name="T15" fmla="*/ 292 h 2612"/>
                <a:gd name="T16" fmla="*/ 716 w 3698"/>
                <a:gd name="T17" fmla="*/ 350 h 2612"/>
                <a:gd name="T18" fmla="*/ 568 w 3698"/>
                <a:gd name="T19" fmla="*/ 442 h 2612"/>
                <a:gd name="T20" fmla="*/ 428 w 3698"/>
                <a:gd name="T21" fmla="*/ 596 h 2612"/>
                <a:gd name="T22" fmla="*/ 372 w 3698"/>
                <a:gd name="T23" fmla="*/ 700 h 2612"/>
                <a:gd name="T24" fmla="*/ 330 w 3698"/>
                <a:gd name="T25" fmla="*/ 852 h 2612"/>
                <a:gd name="T26" fmla="*/ 316 w 3698"/>
                <a:gd name="T27" fmla="*/ 1108 h 2612"/>
                <a:gd name="T28" fmla="*/ 318 w 3698"/>
                <a:gd name="T29" fmla="*/ 2482 h 2612"/>
                <a:gd name="T30" fmla="*/ 286 w 3698"/>
                <a:gd name="T31" fmla="*/ 2554 h 2612"/>
                <a:gd name="T32" fmla="*/ 238 w 3698"/>
                <a:gd name="T33" fmla="*/ 2594 h 2612"/>
                <a:gd name="T34" fmla="*/ 162 w 3698"/>
                <a:gd name="T35" fmla="*/ 2612 h 2612"/>
                <a:gd name="T36" fmla="*/ 98 w 3698"/>
                <a:gd name="T37" fmla="*/ 2600 h 2612"/>
                <a:gd name="T38" fmla="*/ 46 w 3698"/>
                <a:gd name="T39" fmla="*/ 2566 h 2612"/>
                <a:gd name="T40" fmla="*/ 6 w 3698"/>
                <a:gd name="T41" fmla="*/ 2498 h 2612"/>
                <a:gd name="T42" fmla="*/ 0 w 3698"/>
                <a:gd name="T43" fmla="*/ 1072 h 2612"/>
                <a:gd name="T44" fmla="*/ 46 w 3698"/>
                <a:gd name="T45" fmla="*/ 706 h 2612"/>
                <a:gd name="T46" fmla="*/ 186 w 3698"/>
                <a:gd name="T47" fmla="*/ 408 h 2612"/>
                <a:gd name="T48" fmla="*/ 418 w 3698"/>
                <a:gd name="T49" fmla="*/ 178 h 2612"/>
                <a:gd name="T50" fmla="*/ 658 w 3698"/>
                <a:gd name="T51" fmla="*/ 54 h 2612"/>
                <a:gd name="T52" fmla="*/ 966 w 3698"/>
                <a:gd name="T53" fmla="*/ 0 h 2612"/>
                <a:gd name="T54" fmla="*/ 1200 w 3698"/>
                <a:gd name="T55" fmla="*/ 16 h 2612"/>
                <a:gd name="T56" fmla="*/ 1488 w 3698"/>
                <a:gd name="T57" fmla="*/ 120 h 2612"/>
                <a:gd name="T58" fmla="*/ 1686 w 3698"/>
                <a:gd name="T59" fmla="*/ 266 h 2612"/>
                <a:gd name="T60" fmla="*/ 1840 w 3698"/>
                <a:gd name="T61" fmla="*/ 458 h 2612"/>
                <a:gd name="T62" fmla="*/ 2026 w 3698"/>
                <a:gd name="T63" fmla="*/ 236 h 2612"/>
                <a:gd name="T64" fmla="*/ 2228 w 3698"/>
                <a:gd name="T65" fmla="*/ 108 h 2612"/>
                <a:gd name="T66" fmla="*/ 2532 w 3698"/>
                <a:gd name="T67" fmla="*/ 8 h 2612"/>
                <a:gd name="T68" fmla="*/ 2748 w 3698"/>
                <a:gd name="T69" fmla="*/ 0 h 2612"/>
                <a:gd name="T70" fmla="*/ 2998 w 3698"/>
                <a:gd name="T71" fmla="*/ 42 h 2612"/>
                <a:gd name="T72" fmla="*/ 3218 w 3698"/>
                <a:gd name="T73" fmla="*/ 144 h 2612"/>
                <a:gd name="T74" fmla="*/ 3412 w 3698"/>
                <a:gd name="T75" fmla="*/ 306 h 2612"/>
                <a:gd name="T76" fmla="*/ 3536 w 3698"/>
                <a:gd name="T77" fmla="*/ 468 h 2612"/>
                <a:gd name="T78" fmla="*/ 3644 w 3698"/>
                <a:gd name="T79" fmla="*/ 700 h 2612"/>
                <a:gd name="T80" fmla="*/ 3694 w 3698"/>
                <a:gd name="T81" fmla="*/ 960 h 2612"/>
                <a:gd name="T82" fmla="*/ 3698 w 3698"/>
                <a:gd name="T83" fmla="*/ 2466 h 2612"/>
                <a:gd name="T84" fmla="*/ 3672 w 3698"/>
                <a:gd name="T85" fmla="*/ 2542 h 2612"/>
                <a:gd name="T86" fmla="*/ 3628 w 3698"/>
                <a:gd name="T87" fmla="*/ 2586 h 2612"/>
                <a:gd name="T88" fmla="*/ 3556 w 3698"/>
                <a:gd name="T89" fmla="*/ 2612 h 2612"/>
                <a:gd name="T90" fmla="*/ 3490 w 3698"/>
                <a:gd name="T91" fmla="*/ 2606 h 2612"/>
                <a:gd name="T92" fmla="*/ 3422 w 3698"/>
                <a:gd name="T93" fmla="*/ 2566 h 2612"/>
                <a:gd name="T94" fmla="*/ 3388 w 3698"/>
                <a:gd name="T95" fmla="*/ 2514 h 2612"/>
                <a:gd name="T96" fmla="*/ 3380 w 3698"/>
                <a:gd name="T97" fmla="*/ 1108 h 2612"/>
                <a:gd name="T98" fmla="*/ 3368 w 3698"/>
                <a:gd name="T99" fmla="*/ 932 h 2612"/>
                <a:gd name="T100" fmla="*/ 3320 w 3698"/>
                <a:gd name="T101" fmla="*/ 740 h 2612"/>
                <a:gd name="T102" fmla="*/ 3234 w 3698"/>
                <a:gd name="T103" fmla="*/ 572 h 2612"/>
                <a:gd name="T104" fmla="*/ 3138 w 3698"/>
                <a:gd name="T105" fmla="*/ 460 h 2612"/>
                <a:gd name="T106" fmla="*/ 2998 w 3698"/>
                <a:gd name="T107" fmla="*/ 358 h 2612"/>
                <a:gd name="T108" fmla="*/ 2834 w 3698"/>
                <a:gd name="T109" fmla="*/ 300 h 2612"/>
                <a:gd name="T110" fmla="*/ 2688 w 3698"/>
                <a:gd name="T111" fmla="*/ 286 h 2612"/>
                <a:gd name="T112" fmla="*/ 2482 w 3698"/>
                <a:gd name="T113" fmla="*/ 318 h 2612"/>
                <a:gd name="T114" fmla="*/ 2324 w 3698"/>
                <a:gd name="T115" fmla="*/ 392 h 2612"/>
                <a:gd name="T116" fmla="*/ 2164 w 3698"/>
                <a:gd name="T117" fmla="*/ 528 h 2612"/>
                <a:gd name="T118" fmla="*/ 2066 w 3698"/>
                <a:gd name="T119" fmla="*/ 684 h 2612"/>
                <a:gd name="T120" fmla="*/ 2010 w 3698"/>
                <a:gd name="T121" fmla="*/ 950 h 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698" h="2612">
                  <a:moveTo>
                    <a:pt x="2012" y="2450"/>
                  </a:moveTo>
                  <a:lnTo>
                    <a:pt x="1690" y="2450"/>
                  </a:lnTo>
                  <a:lnTo>
                    <a:pt x="1690" y="1028"/>
                  </a:lnTo>
                  <a:lnTo>
                    <a:pt x="1690" y="1028"/>
                  </a:lnTo>
                  <a:lnTo>
                    <a:pt x="1688" y="988"/>
                  </a:lnTo>
                  <a:lnTo>
                    <a:pt x="1686" y="948"/>
                  </a:lnTo>
                  <a:lnTo>
                    <a:pt x="1682" y="910"/>
                  </a:lnTo>
                  <a:lnTo>
                    <a:pt x="1678" y="872"/>
                  </a:lnTo>
                  <a:lnTo>
                    <a:pt x="1670" y="836"/>
                  </a:lnTo>
                  <a:lnTo>
                    <a:pt x="1662" y="800"/>
                  </a:lnTo>
                  <a:lnTo>
                    <a:pt x="1652" y="764"/>
                  </a:lnTo>
                  <a:lnTo>
                    <a:pt x="1640" y="730"/>
                  </a:lnTo>
                  <a:lnTo>
                    <a:pt x="1626" y="698"/>
                  </a:lnTo>
                  <a:lnTo>
                    <a:pt x="1612" y="666"/>
                  </a:lnTo>
                  <a:lnTo>
                    <a:pt x="1596" y="634"/>
                  </a:lnTo>
                  <a:lnTo>
                    <a:pt x="1578" y="604"/>
                  </a:lnTo>
                  <a:lnTo>
                    <a:pt x="1558" y="576"/>
                  </a:lnTo>
                  <a:lnTo>
                    <a:pt x="1538" y="548"/>
                  </a:lnTo>
                  <a:lnTo>
                    <a:pt x="1514" y="520"/>
                  </a:lnTo>
                  <a:lnTo>
                    <a:pt x="1490" y="494"/>
                  </a:lnTo>
                  <a:lnTo>
                    <a:pt x="1490" y="494"/>
                  </a:lnTo>
                  <a:lnTo>
                    <a:pt x="1466" y="468"/>
                  </a:lnTo>
                  <a:lnTo>
                    <a:pt x="1440" y="446"/>
                  </a:lnTo>
                  <a:lnTo>
                    <a:pt x="1414" y="424"/>
                  </a:lnTo>
                  <a:lnTo>
                    <a:pt x="1386" y="402"/>
                  </a:lnTo>
                  <a:lnTo>
                    <a:pt x="1358" y="384"/>
                  </a:lnTo>
                  <a:lnTo>
                    <a:pt x="1328" y="368"/>
                  </a:lnTo>
                  <a:lnTo>
                    <a:pt x="1298" y="352"/>
                  </a:lnTo>
                  <a:lnTo>
                    <a:pt x="1268" y="338"/>
                  </a:lnTo>
                  <a:lnTo>
                    <a:pt x="1236" y="326"/>
                  </a:lnTo>
                  <a:lnTo>
                    <a:pt x="1204" y="316"/>
                  </a:lnTo>
                  <a:lnTo>
                    <a:pt x="1172" y="306"/>
                  </a:lnTo>
                  <a:lnTo>
                    <a:pt x="1138" y="300"/>
                  </a:lnTo>
                  <a:lnTo>
                    <a:pt x="1104" y="294"/>
                  </a:lnTo>
                  <a:lnTo>
                    <a:pt x="1068" y="290"/>
                  </a:lnTo>
                  <a:lnTo>
                    <a:pt x="1034" y="288"/>
                  </a:lnTo>
                  <a:lnTo>
                    <a:pt x="996" y="286"/>
                  </a:lnTo>
                  <a:lnTo>
                    <a:pt x="996" y="286"/>
                  </a:lnTo>
                  <a:lnTo>
                    <a:pt x="956" y="288"/>
                  </a:lnTo>
                  <a:lnTo>
                    <a:pt x="916" y="292"/>
                  </a:lnTo>
                  <a:lnTo>
                    <a:pt x="874" y="298"/>
                  </a:lnTo>
                  <a:lnTo>
                    <a:pt x="834" y="308"/>
                  </a:lnTo>
                  <a:lnTo>
                    <a:pt x="794" y="318"/>
                  </a:lnTo>
                  <a:lnTo>
                    <a:pt x="756" y="334"/>
                  </a:lnTo>
                  <a:lnTo>
                    <a:pt x="716" y="350"/>
                  </a:lnTo>
                  <a:lnTo>
                    <a:pt x="676" y="370"/>
                  </a:lnTo>
                  <a:lnTo>
                    <a:pt x="676" y="370"/>
                  </a:lnTo>
                  <a:lnTo>
                    <a:pt x="638" y="392"/>
                  </a:lnTo>
                  <a:lnTo>
                    <a:pt x="602" y="416"/>
                  </a:lnTo>
                  <a:lnTo>
                    <a:pt x="568" y="442"/>
                  </a:lnTo>
                  <a:lnTo>
                    <a:pt x="536" y="468"/>
                  </a:lnTo>
                  <a:lnTo>
                    <a:pt x="506" y="498"/>
                  </a:lnTo>
                  <a:lnTo>
                    <a:pt x="478" y="528"/>
                  </a:lnTo>
                  <a:lnTo>
                    <a:pt x="452" y="560"/>
                  </a:lnTo>
                  <a:lnTo>
                    <a:pt x="428" y="596"/>
                  </a:lnTo>
                  <a:lnTo>
                    <a:pt x="428" y="596"/>
                  </a:lnTo>
                  <a:lnTo>
                    <a:pt x="412" y="620"/>
                  </a:lnTo>
                  <a:lnTo>
                    <a:pt x="398" y="646"/>
                  </a:lnTo>
                  <a:lnTo>
                    <a:pt x="384" y="672"/>
                  </a:lnTo>
                  <a:lnTo>
                    <a:pt x="372" y="700"/>
                  </a:lnTo>
                  <a:lnTo>
                    <a:pt x="362" y="728"/>
                  </a:lnTo>
                  <a:lnTo>
                    <a:pt x="352" y="758"/>
                  </a:lnTo>
                  <a:lnTo>
                    <a:pt x="344" y="788"/>
                  </a:lnTo>
                  <a:lnTo>
                    <a:pt x="336" y="820"/>
                  </a:lnTo>
                  <a:lnTo>
                    <a:pt x="330" y="852"/>
                  </a:lnTo>
                  <a:lnTo>
                    <a:pt x="324" y="886"/>
                  </a:lnTo>
                  <a:lnTo>
                    <a:pt x="320" y="920"/>
                  </a:lnTo>
                  <a:lnTo>
                    <a:pt x="318" y="956"/>
                  </a:lnTo>
                  <a:lnTo>
                    <a:pt x="314" y="1030"/>
                  </a:lnTo>
                  <a:lnTo>
                    <a:pt x="316" y="1108"/>
                  </a:lnTo>
                  <a:lnTo>
                    <a:pt x="322" y="1196"/>
                  </a:lnTo>
                  <a:lnTo>
                    <a:pt x="322" y="2450"/>
                  </a:lnTo>
                  <a:lnTo>
                    <a:pt x="322" y="2450"/>
                  </a:lnTo>
                  <a:lnTo>
                    <a:pt x="320" y="2466"/>
                  </a:lnTo>
                  <a:lnTo>
                    <a:pt x="318" y="2482"/>
                  </a:lnTo>
                  <a:lnTo>
                    <a:pt x="314" y="2498"/>
                  </a:lnTo>
                  <a:lnTo>
                    <a:pt x="310" y="2514"/>
                  </a:lnTo>
                  <a:lnTo>
                    <a:pt x="304" y="2528"/>
                  </a:lnTo>
                  <a:lnTo>
                    <a:pt x="296" y="2542"/>
                  </a:lnTo>
                  <a:lnTo>
                    <a:pt x="286" y="2554"/>
                  </a:lnTo>
                  <a:lnTo>
                    <a:pt x="274" y="2566"/>
                  </a:lnTo>
                  <a:lnTo>
                    <a:pt x="274" y="2566"/>
                  </a:lnTo>
                  <a:lnTo>
                    <a:pt x="262" y="2576"/>
                  </a:lnTo>
                  <a:lnTo>
                    <a:pt x="250" y="2586"/>
                  </a:lnTo>
                  <a:lnTo>
                    <a:pt x="238" y="2594"/>
                  </a:lnTo>
                  <a:lnTo>
                    <a:pt x="224" y="2600"/>
                  </a:lnTo>
                  <a:lnTo>
                    <a:pt x="210" y="2606"/>
                  </a:lnTo>
                  <a:lnTo>
                    <a:pt x="194" y="2610"/>
                  </a:lnTo>
                  <a:lnTo>
                    <a:pt x="178" y="2612"/>
                  </a:lnTo>
                  <a:lnTo>
                    <a:pt x="162" y="2612"/>
                  </a:lnTo>
                  <a:lnTo>
                    <a:pt x="162" y="2612"/>
                  </a:lnTo>
                  <a:lnTo>
                    <a:pt x="146" y="2612"/>
                  </a:lnTo>
                  <a:lnTo>
                    <a:pt x="128" y="2610"/>
                  </a:lnTo>
                  <a:lnTo>
                    <a:pt x="112" y="2606"/>
                  </a:lnTo>
                  <a:lnTo>
                    <a:pt x="98" y="2600"/>
                  </a:lnTo>
                  <a:lnTo>
                    <a:pt x="84" y="2594"/>
                  </a:lnTo>
                  <a:lnTo>
                    <a:pt x="70" y="2586"/>
                  </a:lnTo>
                  <a:lnTo>
                    <a:pt x="58" y="2576"/>
                  </a:lnTo>
                  <a:lnTo>
                    <a:pt x="46" y="2566"/>
                  </a:lnTo>
                  <a:lnTo>
                    <a:pt x="46" y="2566"/>
                  </a:lnTo>
                  <a:lnTo>
                    <a:pt x="34" y="2554"/>
                  </a:lnTo>
                  <a:lnTo>
                    <a:pt x="26" y="2542"/>
                  </a:lnTo>
                  <a:lnTo>
                    <a:pt x="18" y="2528"/>
                  </a:lnTo>
                  <a:lnTo>
                    <a:pt x="10" y="2514"/>
                  </a:lnTo>
                  <a:lnTo>
                    <a:pt x="6" y="2498"/>
                  </a:lnTo>
                  <a:lnTo>
                    <a:pt x="2" y="2482"/>
                  </a:lnTo>
                  <a:lnTo>
                    <a:pt x="0" y="2466"/>
                  </a:lnTo>
                  <a:lnTo>
                    <a:pt x="0" y="2450"/>
                  </a:lnTo>
                  <a:lnTo>
                    <a:pt x="0" y="1072"/>
                  </a:lnTo>
                  <a:lnTo>
                    <a:pt x="0" y="1072"/>
                  </a:lnTo>
                  <a:lnTo>
                    <a:pt x="0" y="994"/>
                  </a:lnTo>
                  <a:lnTo>
                    <a:pt x="6" y="918"/>
                  </a:lnTo>
                  <a:lnTo>
                    <a:pt x="16" y="844"/>
                  </a:lnTo>
                  <a:lnTo>
                    <a:pt x="28" y="774"/>
                  </a:lnTo>
                  <a:lnTo>
                    <a:pt x="46" y="706"/>
                  </a:lnTo>
                  <a:lnTo>
                    <a:pt x="66" y="640"/>
                  </a:lnTo>
                  <a:lnTo>
                    <a:pt x="90" y="578"/>
                  </a:lnTo>
                  <a:lnTo>
                    <a:pt x="118" y="520"/>
                  </a:lnTo>
                  <a:lnTo>
                    <a:pt x="150" y="462"/>
                  </a:lnTo>
                  <a:lnTo>
                    <a:pt x="186" y="408"/>
                  </a:lnTo>
                  <a:lnTo>
                    <a:pt x="224" y="356"/>
                  </a:lnTo>
                  <a:lnTo>
                    <a:pt x="268" y="308"/>
                  </a:lnTo>
                  <a:lnTo>
                    <a:pt x="314" y="262"/>
                  </a:lnTo>
                  <a:lnTo>
                    <a:pt x="364" y="218"/>
                  </a:lnTo>
                  <a:lnTo>
                    <a:pt x="418" y="178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536" y="108"/>
                  </a:lnTo>
                  <a:lnTo>
                    <a:pt x="598" y="78"/>
                  </a:lnTo>
                  <a:lnTo>
                    <a:pt x="658" y="54"/>
                  </a:lnTo>
                  <a:lnTo>
                    <a:pt x="720" y="34"/>
                  </a:lnTo>
                  <a:lnTo>
                    <a:pt x="780" y="20"/>
                  </a:lnTo>
                  <a:lnTo>
                    <a:pt x="842" y="8"/>
                  </a:lnTo>
                  <a:lnTo>
                    <a:pt x="904" y="2"/>
                  </a:lnTo>
                  <a:lnTo>
                    <a:pt x="966" y="0"/>
                  </a:lnTo>
                  <a:lnTo>
                    <a:pt x="1010" y="0"/>
                  </a:lnTo>
                  <a:lnTo>
                    <a:pt x="1010" y="0"/>
                  </a:lnTo>
                  <a:lnTo>
                    <a:pt x="1074" y="2"/>
                  </a:lnTo>
                  <a:lnTo>
                    <a:pt x="1138" y="6"/>
                  </a:lnTo>
                  <a:lnTo>
                    <a:pt x="1200" y="16"/>
                  </a:lnTo>
                  <a:lnTo>
                    <a:pt x="1260" y="30"/>
                  </a:lnTo>
                  <a:lnTo>
                    <a:pt x="1318" y="46"/>
                  </a:lnTo>
                  <a:lnTo>
                    <a:pt x="1376" y="68"/>
                  </a:lnTo>
                  <a:lnTo>
                    <a:pt x="1434" y="92"/>
                  </a:lnTo>
                  <a:lnTo>
                    <a:pt x="1488" y="120"/>
                  </a:lnTo>
                  <a:lnTo>
                    <a:pt x="1488" y="120"/>
                  </a:lnTo>
                  <a:lnTo>
                    <a:pt x="1542" y="152"/>
                  </a:lnTo>
                  <a:lnTo>
                    <a:pt x="1592" y="188"/>
                  </a:lnTo>
                  <a:lnTo>
                    <a:pt x="1640" y="226"/>
                  </a:lnTo>
                  <a:lnTo>
                    <a:pt x="1686" y="266"/>
                  </a:lnTo>
                  <a:lnTo>
                    <a:pt x="1728" y="310"/>
                  </a:lnTo>
                  <a:lnTo>
                    <a:pt x="1768" y="356"/>
                  </a:lnTo>
                  <a:lnTo>
                    <a:pt x="1806" y="406"/>
                  </a:lnTo>
                  <a:lnTo>
                    <a:pt x="1840" y="458"/>
                  </a:lnTo>
                  <a:lnTo>
                    <a:pt x="1840" y="458"/>
                  </a:lnTo>
                  <a:lnTo>
                    <a:pt x="1872" y="408"/>
                  </a:lnTo>
                  <a:lnTo>
                    <a:pt x="1906" y="360"/>
                  </a:lnTo>
                  <a:lnTo>
                    <a:pt x="1944" y="316"/>
                  </a:lnTo>
                  <a:lnTo>
                    <a:pt x="1984" y="276"/>
                  </a:lnTo>
                  <a:lnTo>
                    <a:pt x="2026" y="236"/>
                  </a:lnTo>
                  <a:lnTo>
                    <a:pt x="2070" y="202"/>
                  </a:lnTo>
                  <a:lnTo>
                    <a:pt x="2116" y="170"/>
                  </a:lnTo>
                  <a:lnTo>
                    <a:pt x="2166" y="140"/>
                  </a:lnTo>
                  <a:lnTo>
                    <a:pt x="2166" y="140"/>
                  </a:lnTo>
                  <a:lnTo>
                    <a:pt x="2228" y="108"/>
                  </a:lnTo>
                  <a:lnTo>
                    <a:pt x="2288" y="78"/>
                  </a:lnTo>
                  <a:lnTo>
                    <a:pt x="2348" y="54"/>
                  </a:lnTo>
                  <a:lnTo>
                    <a:pt x="2410" y="34"/>
                  </a:lnTo>
                  <a:lnTo>
                    <a:pt x="2472" y="20"/>
                  </a:lnTo>
                  <a:lnTo>
                    <a:pt x="2532" y="8"/>
                  </a:lnTo>
                  <a:lnTo>
                    <a:pt x="2594" y="2"/>
                  </a:lnTo>
                  <a:lnTo>
                    <a:pt x="2656" y="0"/>
                  </a:lnTo>
                  <a:lnTo>
                    <a:pt x="2696" y="0"/>
                  </a:lnTo>
                  <a:lnTo>
                    <a:pt x="2696" y="0"/>
                  </a:lnTo>
                  <a:lnTo>
                    <a:pt x="2748" y="0"/>
                  </a:lnTo>
                  <a:lnTo>
                    <a:pt x="2800" y="4"/>
                  </a:lnTo>
                  <a:lnTo>
                    <a:pt x="2852" y="10"/>
                  </a:lnTo>
                  <a:lnTo>
                    <a:pt x="2902" y="18"/>
                  </a:lnTo>
                  <a:lnTo>
                    <a:pt x="2950" y="30"/>
                  </a:lnTo>
                  <a:lnTo>
                    <a:pt x="2998" y="42"/>
                  </a:lnTo>
                  <a:lnTo>
                    <a:pt x="3044" y="58"/>
                  </a:lnTo>
                  <a:lnTo>
                    <a:pt x="3088" y="76"/>
                  </a:lnTo>
                  <a:lnTo>
                    <a:pt x="3132" y="96"/>
                  </a:lnTo>
                  <a:lnTo>
                    <a:pt x="3176" y="120"/>
                  </a:lnTo>
                  <a:lnTo>
                    <a:pt x="3218" y="144"/>
                  </a:lnTo>
                  <a:lnTo>
                    <a:pt x="3258" y="172"/>
                  </a:lnTo>
                  <a:lnTo>
                    <a:pt x="3298" y="202"/>
                  </a:lnTo>
                  <a:lnTo>
                    <a:pt x="3338" y="234"/>
                  </a:lnTo>
                  <a:lnTo>
                    <a:pt x="3374" y="268"/>
                  </a:lnTo>
                  <a:lnTo>
                    <a:pt x="3412" y="306"/>
                  </a:lnTo>
                  <a:lnTo>
                    <a:pt x="3412" y="306"/>
                  </a:lnTo>
                  <a:lnTo>
                    <a:pt x="3446" y="344"/>
                  </a:lnTo>
                  <a:lnTo>
                    <a:pt x="3478" y="386"/>
                  </a:lnTo>
                  <a:lnTo>
                    <a:pt x="3508" y="426"/>
                  </a:lnTo>
                  <a:lnTo>
                    <a:pt x="3536" y="468"/>
                  </a:lnTo>
                  <a:lnTo>
                    <a:pt x="3562" y="512"/>
                  </a:lnTo>
                  <a:lnTo>
                    <a:pt x="3586" y="558"/>
                  </a:lnTo>
                  <a:lnTo>
                    <a:pt x="3608" y="604"/>
                  </a:lnTo>
                  <a:lnTo>
                    <a:pt x="3626" y="650"/>
                  </a:lnTo>
                  <a:lnTo>
                    <a:pt x="3644" y="700"/>
                  </a:lnTo>
                  <a:lnTo>
                    <a:pt x="3658" y="750"/>
                  </a:lnTo>
                  <a:lnTo>
                    <a:pt x="3670" y="800"/>
                  </a:lnTo>
                  <a:lnTo>
                    <a:pt x="3680" y="852"/>
                  </a:lnTo>
                  <a:lnTo>
                    <a:pt x="3688" y="906"/>
                  </a:lnTo>
                  <a:lnTo>
                    <a:pt x="3694" y="960"/>
                  </a:lnTo>
                  <a:lnTo>
                    <a:pt x="3696" y="1016"/>
                  </a:lnTo>
                  <a:lnTo>
                    <a:pt x="3698" y="1072"/>
                  </a:lnTo>
                  <a:lnTo>
                    <a:pt x="3698" y="2450"/>
                  </a:lnTo>
                  <a:lnTo>
                    <a:pt x="3698" y="2450"/>
                  </a:lnTo>
                  <a:lnTo>
                    <a:pt x="3698" y="2466"/>
                  </a:lnTo>
                  <a:lnTo>
                    <a:pt x="3696" y="2482"/>
                  </a:lnTo>
                  <a:lnTo>
                    <a:pt x="3692" y="2498"/>
                  </a:lnTo>
                  <a:lnTo>
                    <a:pt x="3686" y="2514"/>
                  </a:lnTo>
                  <a:lnTo>
                    <a:pt x="3680" y="2528"/>
                  </a:lnTo>
                  <a:lnTo>
                    <a:pt x="3672" y="2542"/>
                  </a:lnTo>
                  <a:lnTo>
                    <a:pt x="3662" y="2554"/>
                  </a:lnTo>
                  <a:lnTo>
                    <a:pt x="3652" y="2566"/>
                  </a:lnTo>
                  <a:lnTo>
                    <a:pt x="3652" y="2566"/>
                  </a:lnTo>
                  <a:lnTo>
                    <a:pt x="3640" y="2576"/>
                  </a:lnTo>
                  <a:lnTo>
                    <a:pt x="3628" y="2586"/>
                  </a:lnTo>
                  <a:lnTo>
                    <a:pt x="3614" y="2594"/>
                  </a:lnTo>
                  <a:lnTo>
                    <a:pt x="3600" y="2600"/>
                  </a:lnTo>
                  <a:lnTo>
                    <a:pt x="3586" y="2606"/>
                  </a:lnTo>
                  <a:lnTo>
                    <a:pt x="3570" y="2610"/>
                  </a:lnTo>
                  <a:lnTo>
                    <a:pt x="3556" y="2612"/>
                  </a:lnTo>
                  <a:lnTo>
                    <a:pt x="3540" y="2612"/>
                  </a:lnTo>
                  <a:lnTo>
                    <a:pt x="3540" y="2612"/>
                  </a:lnTo>
                  <a:lnTo>
                    <a:pt x="3522" y="2612"/>
                  </a:lnTo>
                  <a:lnTo>
                    <a:pt x="3506" y="2610"/>
                  </a:lnTo>
                  <a:lnTo>
                    <a:pt x="3490" y="2606"/>
                  </a:lnTo>
                  <a:lnTo>
                    <a:pt x="3474" y="2600"/>
                  </a:lnTo>
                  <a:lnTo>
                    <a:pt x="3460" y="2594"/>
                  </a:lnTo>
                  <a:lnTo>
                    <a:pt x="3446" y="2586"/>
                  </a:lnTo>
                  <a:lnTo>
                    <a:pt x="3434" y="2576"/>
                  </a:lnTo>
                  <a:lnTo>
                    <a:pt x="3422" y="2566"/>
                  </a:lnTo>
                  <a:lnTo>
                    <a:pt x="3422" y="2566"/>
                  </a:lnTo>
                  <a:lnTo>
                    <a:pt x="3412" y="2554"/>
                  </a:lnTo>
                  <a:lnTo>
                    <a:pt x="3402" y="2542"/>
                  </a:lnTo>
                  <a:lnTo>
                    <a:pt x="3394" y="2528"/>
                  </a:lnTo>
                  <a:lnTo>
                    <a:pt x="3388" y="2514"/>
                  </a:lnTo>
                  <a:lnTo>
                    <a:pt x="3382" y="2498"/>
                  </a:lnTo>
                  <a:lnTo>
                    <a:pt x="3378" y="2482"/>
                  </a:lnTo>
                  <a:lnTo>
                    <a:pt x="3376" y="2466"/>
                  </a:lnTo>
                  <a:lnTo>
                    <a:pt x="3376" y="2450"/>
                  </a:lnTo>
                  <a:lnTo>
                    <a:pt x="3380" y="1108"/>
                  </a:lnTo>
                  <a:lnTo>
                    <a:pt x="3380" y="1108"/>
                  </a:lnTo>
                  <a:lnTo>
                    <a:pt x="3380" y="1062"/>
                  </a:lnTo>
                  <a:lnTo>
                    <a:pt x="3378" y="1018"/>
                  </a:lnTo>
                  <a:lnTo>
                    <a:pt x="3374" y="974"/>
                  </a:lnTo>
                  <a:lnTo>
                    <a:pt x="3368" y="932"/>
                  </a:lnTo>
                  <a:lnTo>
                    <a:pt x="3362" y="892"/>
                  </a:lnTo>
                  <a:lnTo>
                    <a:pt x="3354" y="852"/>
                  </a:lnTo>
                  <a:lnTo>
                    <a:pt x="3344" y="814"/>
                  </a:lnTo>
                  <a:lnTo>
                    <a:pt x="3332" y="776"/>
                  </a:lnTo>
                  <a:lnTo>
                    <a:pt x="3320" y="740"/>
                  </a:lnTo>
                  <a:lnTo>
                    <a:pt x="3306" y="704"/>
                  </a:lnTo>
                  <a:lnTo>
                    <a:pt x="3290" y="670"/>
                  </a:lnTo>
                  <a:lnTo>
                    <a:pt x="3272" y="636"/>
                  </a:lnTo>
                  <a:lnTo>
                    <a:pt x="3254" y="604"/>
                  </a:lnTo>
                  <a:lnTo>
                    <a:pt x="3234" y="572"/>
                  </a:lnTo>
                  <a:lnTo>
                    <a:pt x="3212" y="542"/>
                  </a:lnTo>
                  <a:lnTo>
                    <a:pt x="3188" y="514"/>
                  </a:lnTo>
                  <a:lnTo>
                    <a:pt x="3188" y="514"/>
                  </a:lnTo>
                  <a:lnTo>
                    <a:pt x="3164" y="486"/>
                  </a:lnTo>
                  <a:lnTo>
                    <a:pt x="3138" y="460"/>
                  </a:lnTo>
                  <a:lnTo>
                    <a:pt x="3112" y="436"/>
                  </a:lnTo>
                  <a:lnTo>
                    <a:pt x="3084" y="414"/>
                  </a:lnTo>
                  <a:lnTo>
                    <a:pt x="3056" y="394"/>
                  </a:lnTo>
                  <a:lnTo>
                    <a:pt x="3028" y="374"/>
                  </a:lnTo>
                  <a:lnTo>
                    <a:pt x="2998" y="358"/>
                  </a:lnTo>
                  <a:lnTo>
                    <a:pt x="2966" y="344"/>
                  </a:lnTo>
                  <a:lnTo>
                    <a:pt x="2936" y="330"/>
                  </a:lnTo>
                  <a:lnTo>
                    <a:pt x="2902" y="318"/>
                  </a:lnTo>
                  <a:lnTo>
                    <a:pt x="2868" y="308"/>
                  </a:lnTo>
                  <a:lnTo>
                    <a:pt x="2834" y="300"/>
                  </a:lnTo>
                  <a:lnTo>
                    <a:pt x="2798" y="294"/>
                  </a:lnTo>
                  <a:lnTo>
                    <a:pt x="2762" y="290"/>
                  </a:lnTo>
                  <a:lnTo>
                    <a:pt x="2726" y="288"/>
                  </a:lnTo>
                  <a:lnTo>
                    <a:pt x="2688" y="286"/>
                  </a:lnTo>
                  <a:lnTo>
                    <a:pt x="2688" y="286"/>
                  </a:lnTo>
                  <a:lnTo>
                    <a:pt x="2646" y="288"/>
                  </a:lnTo>
                  <a:lnTo>
                    <a:pt x="2604" y="292"/>
                  </a:lnTo>
                  <a:lnTo>
                    <a:pt x="2562" y="298"/>
                  </a:lnTo>
                  <a:lnTo>
                    <a:pt x="2522" y="308"/>
                  </a:lnTo>
                  <a:lnTo>
                    <a:pt x="2482" y="318"/>
                  </a:lnTo>
                  <a:lnTo>
                    <a:pt x="2442" y="334"/>
                  </a:lnTo>
                  <a:lnTo>
                    <a:pt x="2402" y="350"/>
                  </a:lnTo>
                  <a:lnTo>
                    <a:pt x="2362" y="370"/>
                  </a:lnTo>
                  <a:lnTo>
                    <a:pt x="2362" y="370"/>
                  </a:lnTo>
                  <a:lnTo>
                    <a:pt x="2324" y="392"/>
                  </a:lnTo>
                  <a:lnTo>
                    <a:pt x="2288" y="416"/>
                  </a:lnTo>
                  <a:lnTo>
                    <a:pt x="2254" y="442"/>
                  </a:lnTo>
                  <a:lnTo>
                    <a:pt x="2222" y="468"/>
                  </a:lnTo>
                  <a:lnTo>
                    <a:pt x="2192" y="498"/>
                  </a:lnTo>
                  <a:lnTo>
                    <a:pt x="2164" y="528"/>
                  </a:lnTo>
                  <a:lnTo>
                    <a:pt x="2138" y="560"/>
                  </a:lnTo>
                  <a:lnTo>
                    <a:pt x="2114" y="596"/>
                  </a:lnTo>
                  <a:lnTo>
                    <a:pt x="2114" y="596"/>
                  </a:lnTo>
                  <a:lnTo>
                    <a:pt x="2088" y="638"/>
                  </a:lnTo>
                  <a:lnTo>
                    <a:pt x="2066" y="684"/>
                  </a:lnTo>
                  <a:lnTo>
                    <a:pt x="2048" y="732"/>
                  </a:lnTo>
                  <a:lnTo>
                    <a:pt x="2034" y="782"/>
                  </a:lnTo>
                  <a:lnTo>
                    <a:pt x="2022" y="836"/>
                  </a:lnTo>
                  <a:lnTo>
                    <a:pt x="2014" y="892"/>
                  </a:lnTo>
                  <a:lnTo>
                    <a:pt x="2010" y="950"/>
                  </a:lnTo>
                  <a:lnTo>
                    <a:pt x="2008" y="1010"/>
                  </a:lnTo>
                  <a:lnTo>
                    <a:pt x="2012" y="245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36850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645971"/>
            <a:ext cx="9144000" cy="449753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55" tIns="45678" rIns="91355" bIns="4567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35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799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192847"/>
            <a:ext cx="9144000" cy="453125"/>
          </a:xfrm>
          <a:prstGeom prst="rect">
            <a:avLst/>
          </a:prstGeom>
          <a:gradFill flip="none" rotWithShape="1">
            <a:gsLst>
              <a:gs pos="0">
                <a:srgbClr val="030A1F">
                  <a:alpha val="75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55" tIns="45678" rIns="91355" bIns="4567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3554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kumimoji="0" lang="en-US" sz="1799" i="0" u="none" strike="noStrike" cap="none" normalizeH="0" baseline="0" dirty="0">
              <a:ln>
                <a:noFill/>
              </a:ln>
              <a:effectLst/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576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2398" dirty="0"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0105" y="828441"/>
            <a:ext cx="8220485" cy="361418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bg2">
                    <a:lumMod val="50000"/>
                  </a:schemeClr>
                </a:solidFill>
                <a:latin typeface="+mn-lt"/>
              </a:defRPr>
            </a:lvl1pPr>
            <a:lvl2pPr>
              <a:buClr>
                <a:schemeClr val="tx1"/>
              </a:buClr>
              <a:defRPr>
                <a:solidFill>
                  <a:schemeClr val="bg2">
                    <a:lumMod val="50000"/>
                  </a:schemeClr>
                </a:solidFill>
                <a:latin typeface="+mn-lt"/>
              </a:defRPr>
            </a:lvl2pPr>
            <a:lvl3pPr>
              <a:buClr>
                <a:schemeClr val="tx1"/>
              </a:buClr>
              <a:defRPr>
                <a:solidFill>
                  <a:schemeClr val="bg2">
                    <a:lumMod val="50000"/>
                  </a:schemeClr>
                </a:solidFill>
                <a:latin typeface="+mn-lt"/>
              </a:defRPr>
            </a:lvl3pPr>
            <a:lvl4pPr>
              <a:buClr>
                <a:schemeClr val="tx1"/>
              </a:buClr>
              <a:defRPr>
                <a:solidFill>
                  <a:schemeClr val="bg2">
                    <a:lumMod val="50000"/>
                  </a:schemeClr>
                </a:solidFill>
                <a:latin typeface="+mn-lt"/>
              </a:defRPr>
            </a:lvl4pPr>
            <a:lvl5pPr>
              <a:buClr>
                <a:schemeClr val="tx1"/>
              </a:buClr>
              <a:defRPr>
                <a:solidFill>
                  <a:schemeClr val="bg2">
                    <a:lumMod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2069" name="Group 2068"/>
          <p:cNvGrpSpPr/>
          <p:nvPr userDrawn="1"/>
        </p:nvGrpSpPr>
        <p:grpSpPr>
          <a:xfrm>
            <a:off x="8040907" y="176870"/>
            <a:ext cx="958475" cy="345197"/>
            <a:chOff x="4968875" y="-2549525"/>
            <a:chExt cx="5495926" cy="1981199"/>
          </a:xfrm>
          <a:solidFill>
            <a:schemeClr val="bg1"/>
          </a:solidFill>
        </p:grpSpPr>
        <p:sp>
          <p:nvSpPr>
            <p:cNvPr id="9" name="Oval 6"/>
            <p:cNvSpPr>
              <a:spLocks noChangeArrowheads="1"/>
            </p:cNvSpPr>
            <p:nvPr userDrawn="1"/>
          </p:nvSpPr>
          <p:spPr bwMode="auto">
            <a:xfrm>
              <a:off x="7300913" y="-2260600"/>
              <a:ext cx="85725" cy="857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7251700" y="-2168525"/>
              <a:ext cx="184150" cy="357187"/>
            </a:xfrm>
            <a:custGeom>
              <a:avLst/>
              <a:gdLst>
                <a:gd name="T0" fmla="*/ 157 w 157"/>
                <a:gd name="T1" fmla="*/ 41 h 305"/>
                <a:gd name="T2" fmla="*/ 114 w 157"/>
                <a:gd name="T3" fmla="*/ 0 h 305"/>
                <a:gd name="T4" fmla="*/ 43 w 157"/>
                <a:gd name="T5" fmla="*/ 0 h 305"/>
                <a:gd name="T6" fmla="*/ 0 w 157"/>
                <a:gd name="T7" fmla="*/ 41 h 305"/>
                <a:gd name="T8" fmla="*/ 0 w 157"/>
                <a:gd name="T9" fmla="*/ 41 h 305"/>
                <a:gd name="T10" fmla="*/ 0 w 157"/>
                <a:gd name="T11" fmla="*/ 128 h 305"/>
                <a:gd name="T12" fmla="*/ 13 w 157"/>
                <a:gd name="T13" fmla="*/ 141 h 305"/>
                <a:gd name="T14" fmla="*/ 25 w 157"/>
                <a:gd name="T15" fmla="*/ 128 h 305"/>
                <a:gd name="T16" fmla="*/ 25 w 157"/>
                <a:gd name="T17" fmla="*/ 44 h 305"/>
                <a:gd name="T18" fmla="*/ 38 w 157"/>
                <a:gd name="T19" fmla="*/ 44 h 305"/>
                <a:gd name="T20" fmla="*/ 38 w 157"/>
                <a:gd name="T21" fmla="*/ 132 h 305"/>
                <a:gd name="T22" fmla="*/ 38 w 157"/>
                <a:gd name="T23" fmla="*/ 145 h 305"/>
                <a:gd name="T24" fmla="*/ 38 w 157"/>
                <a:gd name="T25" fmla="*/ 286 h 305"/>
                <a:gd name="T26" fmla="*/ 54 w 157"/>
                <a:gd name="T27" fmla="*/ 305 h 305"/>
                <a:gd name="T28" fmla="*/ 71 w 157"/>
                <a:gd name="T29" fmla="*/ 286 h 305"/>
                <a:gd name="T30" fmla="*/ 71 w 157"/>
                <a:gd name="T31" fmla="*/ 145 h 305"/>
                <a:gd name="T32" fmla="*/ 87 w 157"/>
                <a:gd name="T33" fmla="*/ 145 h 305"/>
                <a:gd name="T34" fmla="*/ 87 w 157"/>
                <a:gd name="T35" fmla="*/ 286 h 305"/>
                <a:gd name="T36" fmla="*/ 104 w 157"/>
                <a:gd name="T37" fmla="*/ 305 h 305"/>
                <a:gd name="T38" fmla="*/ 120 w 157"/>
                <a:gd name="T39" fmla="*/ 286 h 305"/>
                <a:gd name="T40" fmla="*/ 120 w 157"/>
                <a:gd name="T41" fmla="*/ 145 h 305"/>
                <a:gd name="T42" fmla="*/ 120 w 157"/>
                <a:gd name="T43" fmla="*/ 132 h 305"/>
                <a:gd name="T44" fmla="*/ 120 w 157"/>
                <a:gd name="T45" fmla="*/ 44 h 305"/>
                <a:gd name="T46" fmla="*/ 133 w 157"/>
                <a:gd name="T47" fmla="*/ 44 h 305"/>
                <a:gd name="T48" fmla="*/ 133 w 157"/>
                <a:gd name="T49" fmla="*/ 128 h 305"/>
                <a:gd name="T50" fmla="*/ 145 w 157"/>
                <a:gd name="T51" fmla="*/ 141 h 305"/>
                <a:gd name="T52" fmla="*/ 157 w 157"/>
                <a:gd name="T53" fmla="*/ 128 h 305"/>
                <a:gd name="T54" fmla="*/ 157 w 157"/>
                <a:gd name="T55" fmla="*/ 41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57" h="305">
                  <a:moveTo>
                    <a:pt x="157" y="41"/>
                  </a:moveTo>
                  <a:cubicBezTo>
                    <a:pt x="157" y="18"/>
                    <a:pt x="138" y="0"/>
                    <a:pt x="11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20" y="0"/>
                    <a:pt x="1" y="18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5"/>
                    <a:pt x="6" y="141"/>
                    <a:pt x="13" y="141"/>
                  </a:cubicBezTo>
                  <a:cubicBezTo>
                    <a:pt x="20" y="141"/>
                    <a:pt x="25" y="135"/>
                    <a:pt x="25" y="128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45"/>
                    <a:pt x="38" y="145"/>
                    <a:pt x="38" y="145"/>
                  </a:cubicBezTo>
                  <a:cubicBezTo>
                    <a:pt x="38" y="286"/>
                    <a:pt x="38" y="286"/>
                    <a:pt x="38" y="286"/>
                  </a:cubicBezTo>
                  <a:cubicBezTo>
                    <a:pt x="38" y="297"/>
                    <a:pt x="45" y="305"/>
                    <a:pt x="54" y="305"/>
                  </a:cubicBezTo>
                  <a:cubicBezTo>
                    <a:pt x="64" y="305"/>
                    <a:pt x="71" y="297"/>
                    <a:pt x="71" y="286"/>
                  </a:cubicBezTo>
                  <a:cubicBezTo>
                    <a:pt x="71" y="145"/>
                    <a:pt x="71" y="145"/>
                    <a:pt x="71" y="145"/>
                  </a:cubicBezTo>
                  <a:cubicBezTo>
                    <a:pt x="87" y="145"/>
                    <a:pt x="87" y="145"/>
                    <a:pt x="87" y="145"/>
                  </a:cubicBezTo>
                  <a:cubicBezTo>
                    <a:pt x="87" y="286"/>
                    <a:pt x="87" y="286"/>
                    <a:pt x="87" y="286"/>
                  </a:cubicBezTo>
                  <a:cubicBezTo>
                    <a:pt x="87" y="297"/>
                    <a:pt x="94" y="305"/>
                    <a:pt x="104" y="305"/>
                  </a:cubicBezTo>
                  <a:cubicBezTo>
                    <a:pt x="113" y="305"/>
                    <a:pt x="120" y="297"/>
                    <a:pt x="120" y="286"/>
                  </a:cubicBezTo>
                  <a:cubicBezTo>
                    <a:pt x="120" y="145"/>
                    <a:pt x="120" y="145"/>
                    <a:pt x="120" y="145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33" y="44"/>
                    <a:pt x="133" y="44"/>
                    <a:pt x="133" y="44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33" y="135"/>
                    <a:pt x="138" y="141"/>
                    <a:pt x="145" y="141"/>
                  </a:cubicBezTo>
                  <a:cubicBezTo>
                    <a:pt x="152" y="141"/>
                    <a:pt x="157" y="135"/>
                    <a:pt x="157" y="128"/>
                  </a:cubicBezTo>
                  <a:cubicBezTo>
                    <a:pt x="157" y="41"/>
                    <a:pt x="157" y="41"/>
                    <a:pt x="157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7445375" y="-2171700"/>
              <a:ext cx="196850" cy="361950"/>
            </a:xfrm>
            <a:custGeom>
              <a:avLst/>
              <a:gdLst>
                <a:gd name="T0" fmla="*/ 168 w 169"/>
                <a:gd name="T1" fmla="*/ 137 h 309"/>
                <a:gd name="T2" fmla="*/ 155 w 169"/>
                <a:gd name="T3" fmla="*/ 41 h 309"/>
                <a:gd name="T4" fmla="*/ 155 w 169"/>
                <a:gd name="T5" fmla="*/ 41 h 309"/>
                <a:gd name="T6" fmla="*/ 154 w 169"/>
                <a:gd name="T7" fmla="*/ 38 h 309"/>
                <a:gd name="T8" fmla="*/ 154 w 169"/>
                <a:gd name="T9" fmla="*/ 36 h 309"/>
                <a:gd name="T10" fmla="*/ 152 w 169"/>
                <a:gd name="T11" fmla="*/ 26 h 309"/>
                <a:gd name="T12" fmla="*/ 152 w 169"/>
                <a:gd name="T13" fmla="*/ 26 h 309"/>
                <a:gd name="T14" fmla="*/ 152 w 169"/>
                <a:gd name="T15" fmla="*/ 26 h 309"/>
                <a:gd name="T16" fmla="*/ 118 w 169"/>
                <a:gd name="T17" fmla="*/ 0 h 309"/>
                <a:gd name="T18" fmla="*/ 50 w 169"/>
                <a:gd name="T19" fmla="*/ 0 h 309"/>
                <a:gd name="T20" fmla="*/ 16 w 169"/>
                <a:gd name="T21" fmla="*/ 26 h 309"/>
                <a:gd name="T22" fmla="*/ 16 w 169"/>
                <a:gd name="T23" fmla="*/ 26 h 309"/>
                <a:gd name="T24" fmla="*/ 16 w 169"/>
                <a:gd name="T25" fmla="*/ 26 h 309"/>
                <a:gd name="T26" fmla="*/ 15 w 169"/>
                <a:gd name="T27" fmla="*/ 36 h 309"/>
                <a:gd name="T28" fmla="*/ 15 w 169"/>
                <a:gd name="T29" fmla="*/ 38 h 309"/>
                <a:gd name="T30" fmla="*/ 14 w 169"/>
                <a:gd name="T31" fmla="*/ 41 h 309"/>
                <a:gd name="T32" fmla="*/ 14 w 169"/>
                <a:gd name="T33" fmla="*/ 41 h 309"/>
                <a:gd name="T34" fmla="*/ 1 w 169"/>
                <a:gd name="T35" fmla="*/ 137 h 309"/>
                <a:gd name="T36" fmla="*/ 11 w 169"/>
                <a:gd name="T37" fmla="*/ 150 h 309"/>
                <a:gd name="T38" fmla="*/ 24 w 169"/>
                <a:gd name="T39" fmla="*/ 140 h 309"/>
                <a:gd name="T40" fmla="*/ 38 w 169"/>
                <a:gd name="T41" fmla="*/ 42 h 309"/>
                <a:gd name="T42" fmla="*/ 49 w 169"/>
                <a:gd name="T43" fmla="*/ 42 h 309"/>
                <a:gd name="T44" fmla="*/ 31 w 169"/>
                <a:gd name="T45" fmla="*/ 179 h 309"/>
                <a:gd name="T46" fmla="*/ 45 w 169"/>
                <a:gd name="T47" fmla="*/ 179 h 309"/>
                <a:gd name="T48" fmla="*/ 45 w 169"/>
                <a:gd name="T49" fmla="*/ 291 h 309"/>
                <a:gd name="T50" fmla="*/ 61 w 169"/>
                <a:gd name="T51" fmla="*/ 309 h 309"/>
                <a:gd name="T52" fmla="*/ 61 w 169"/>
                <a:gd name="T53" fmla="*/ 309 h 309"/>
                <a:gd name="T54" fmla="*/ 61 w 169"/>
                <a:gd name="T55" fmla="*/ 309 h 309"/>
                <a:gd name="T56" fmla="*/ 77 w 169"/>
                <a:gd name="T57" fmla="*/ 291 h 309"/>
                <a:gd name="T58" fmla="*/ 77 w 169"/>
                <a:gd name="T59" fmla="*/ 179 h 309"/>
                <a:gd name="T60" fmla="*/ 92 w 169"/>
                <a:gd name="T61" fmla="*/ 179 h 309"/>
                <a:gd name="T62" fmla="*/ 92 w 169"/>
                <a:gd name="T63" fmla="*/ 291 h 309"/>
                <a:gd name="T64" fmla="*/ 108 w 169"/>
                <a:gd name="T65" fmla="*/ 309 h 309"/>
                <a:gd name="T66" fmla="*/ 108 w 169"/>
                <a:gd name="T67" fmla="*/ 309 h 309"/>
                <a:gd name="T68" fmla="*/ 108 w 169"/>
                <a:gd name="T69" fmla="*/ 309 h 309"/>
                <a:gd name="T70" fmla="*/ 124 w 169"/>
                <a:gd name="T71" fmla="*/ 291 h 309"/>
                <a:gd name="T72" fmla="*/ 124 w 169"/>
                <a:gd name="T73" fmla="*/ 179 h 309"/>
                <a:gd name="T74" fmla="*/ 138 w 169"/>
                <a:gd name="T75" fmla="*/ 179 h 309"/>
                <a:gd name="T76" fmla="*/ 120 w 169"/>
                <a:gd name="T77" fmla="*/ 43 h 309"/>
                <a:gd name="T78" fmla="*/ 120 w 169"/>
                <a:gd name="T79" fmla="*/ 42 h 309"/>
                <a:gd name="T80" fmla="*/ 131 w 169"/>
                <a:gd name="T81" fmla="*/ 42 h 309"/>
                <a:gd name="T82" fmla="*/ 145 w 169"/>
                <a:gd name="T83" fmla="*/ 140 h 309"/>
                <a:gd name="T84" fmla="*/ 158 w 169"/>
                <a:gd name="T85" fmla="*/ 150 h 309"/>
                <a:gd name="T86" fmla="*/ 168 w 169"/>
                <a:gd name="T87" fmla="*/ 1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9" h="309">
                  <a:moveTo>
                    <a:pt x="168" y="137"/>
                  </a:moveTo>
                  <a:cubicBezTo>
                    <a:pt x="155" y="41"/>
                    <a:pt x="155" y="41"/>
                    <a:pt x="155" y="41"/>
                  </a:cubicBezTo>
                  <a:cubicBezTo>
                    <a:pt x="155" y="41"/>
                    <a:pt x="155" y="41"/>
                    <a:pt x="155" y="41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6"/>
                    <a:pt x="154" y="36"/>
                    <a:pt x="154" y="36"/>
                  </a:cubicBezTo>
                  <a:cubicBezTo>
                    <a:pt x="154" y="33"/>
                    <a:pt x="153" y="29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48" y="11"/>
                    <a:pt x="135" y="1"/>
                    <a:pt x="118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4" y="1"/>
                    <a:pt x="21" y="11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9"/>
                    <a:pt x="15" y="33"/>
                    <a:pt x="15" y="36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43"/>
                    <a:pt x="4" y="149"/>
                    <a:pt x="11" y="150"/>
                  </a:cubicBezTo>
                  <a:cubicBezTo>
                    <a:pt x="17" y="151"/>
                    <a:pt x="23" y="147"/>
                    <a:pt x="24" y="140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31" y="179"/>
                    <a:pt x="31" y="179"/>
                    <a:pt x="3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45" y="301"/>
                    <a:pt x="52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70" y="309"/>
                    <a:pt x="77" y="301"/>
                    <a:pt x="77" y="291"/>
                  </a:cubicBezTo>
                  <a:cubicBezTo>
                    <a:pt x="77" y="179"/>
                    <a:pt x="77" y="179"/>
                    <a:pt x="77" y="179"/>
                  </a:cubicBezTo>
                  <a:cubicBezTo>
                    <a:pt x="92" y="179"/>
                    <a:pt x="92" y="179"/>
                    <a:pt x="92" y="179"/>
                  </a:cubicBezTo>
                  <a:cubicBezTo>
                    <a:pt x="92" y="291"/>
                    <a:pt x="92" y="291"/>
                    <a:pt x="92" y="291"/>
                  </a:cubicBezTo>
                  <a:cubicBezTo>
                    <a:pt x="92" y="301"/>
                    <a:pt x="99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17" y="309"/>
                    <a:pt x="124" y="301"/>
                    <a:pt x="124" y="291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38" y="179"/>
                    <a:pt x="138" y="179"/>
                    <a:pt x="138" y="179"/>
                  </a:cubicBezTo>
                  <a:cubicBezTo>
                    <a:pt x="120" y="43"/>
                    <a:pt x="120" y="43"/>
                    <a:pt x="120" y="43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7"/>
                    <a:pt x="152" y="151"/>
                    <a:pt x="158" y="150"/>
                  </a:cubicBezTo>
                  <a:cubicBezTo>
                    <a:pt x="164" y="149"/>
                    <a:pt x="169" y="143"/>
                    <a:pt x="168" y="1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7504113" y="-2260600"/>
              <a:ext cx="80963" cy="80962"/>
            </a:xfrm>
            <a:custGeom>
              <a:avLst/>
              <a:gdLst>
                <a:gd name="T0" fmla="*/ 34 w 69"/>
                <a:gd name="T1" fmla="*/ 70 h 70"/>
                <a:gd name="T2" fmla="*/ 34 w 69"/>
                <a:gd name="T3" fmla="*/ 70 h 70"/>
                <a:gd name="T4" fmla="*/ 34 w 69"/>
                <a:gd name="T5" fmla="*/ 70 h 70"/>
                <a:gd name="T6" fmla="*/ 69 w 69"/>
                <a:gd name="T7" fmla="*/ 35 h 70"/>
                <a:gd name="T8" fmla="*/ 34 w 69"/>
                <a:gd name="T9" fmla="*/ 0 h 70"/>
                <a:gd name="T10" fmla="*/ 34 w 69"/>
                <a:gd name="T11" fmla="*/ 0 h 70"/>
                <a:gd name="T12" fmla="*/ 34 w 69"/>
                <a:gd name="T13" fmla="*/ 0 h 70"/>
                <a:gd name="T14" fmla="*/ 0 w 69"/>
                <a:gd name="T15" fmla="*/ 35 h 70"/>
                <a:gd name="T16" fmla="*/ 34 w 69"/>
                <a:gd name="T1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70">
                  <a:moveTo>
                    <a:pt x="34" y="70"/>
                  </a:moveTo>
                  <a:cubicBezTo>
                    <a:pt x="34" y="70"/>
                    <a:pt x="34" y="70"/>
                    <a:pt x="34" y="70"/>
                  </a:cubicBezTo>
                  <a:cubicBezTo>
                    <a:pt x="34" y="70"/>
                    <a:pt x="34" y="70"/>
                    <a:pt x="34" y="70"/>
                  </a:cubicBezTo>
                  <a:cubicBezTo>
                    <a:pt x="54" y="70"/>
                    <a:pt x="69" y="54"/>
                    <a:pt x="69" y="35"/>
                  </a:cubicBezTo>
                  <a:cubicBezTo>
                    <a:pt x="69" y="16"/>
                    <a:pt x="5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4"/>
                    <a:pt x="15" y="70"/>
                    <a:pt x="34" y="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7045325" y="-2171700"/>
              <a:ext cx="198438" cy="361950"/>
            </a:xfrm>
            <a:custGeom>
              <a:avLst/>
              <a:gdLst>
                <a:gd name="T0" fmla="*/ 168 w 169"/>
                <a:gd name="T1" fmla="*/ 137 h 309"/>
                <a:gd name="T2" fmla="*/ 155 w 169"/>
                <a:gd name="T3" fmla="*/ 41 h 309"/>
                <a:gd name="T4" fmla="*/ 155 w 169"/>
                <a:gd name="T5" fmla="*/ 41 h 309"/>
                <a:gd name="T6" fmla="*/ 154 w 169"/>
                <a:gd name="T7" fmla="*/ 38 h 309"/>
                <a:gd name="T8" fmla="*/ 154 w 169"/>
                <a:gd name="T9" fmla="*/ 36 h 309"/>
                <a:gd name="T10" fmla="*/ 153 w 169"/>
                <a:gd name="T11" fmla="*/ 26 h 309"/>
                <a:gd name="T12" fmla="*/ 152 w 169"/>
                <a:gd name="T13" fmla="*/ 26 h 309"/>
                <a:gd name="T14" fmla="*/ 152 w 169"/>
                <a:gd name="T15" fmla="*/ 26 h 309"/>
                <a:gd name="T16" fmla="*/ 119 w 169"/>
                <a:gd name="T17" fmla="*/ 0 h 309"/>
                <a:gd name="T18" fmla="*/ 50 w 169"/>
                <a:gd name="T19" fmla="*/ 0 h 309"/>
                <a:gd name="T20" fmla="*/ 16 w 169"/>
                <a:gd name="T21" fmla="*/ 26 h 309"/>
                <a:gd name="T22" fmla="*/ 16 w 169"/>
                <a:gd name="T23" fmla="*/ 26 h 309"/>
                <a:gd name="T24" fmla="*/ 16 w 169"/>
                <a:gd name="T25" fmla="*/ 26 h 309"/>
                <a:gd name="T26" fmla="*/ 15 w 169"/>
                <a:gd name="T27" fmla="*/ 36 h 309"/>
                <a:gd name="T28" fmla="*/ 15 w 169"/>
                <a:gd name="T29" fmla="*/ 38 h 309"/>
                <a:gd name="T30" fmla="*/ 14 w 169"/>
                <a:gd name="T31" fmla="*/ 41 h 309"/>
                <a:gd name="T32" fmla="*/ 14 w 169"/>
                <a:gd name="T33" fmla="*/ 41 h 309"/>
                <a:gd name="T34" fmla="*/ 1 w 169"/>
                <a:gd name="T35" fmla="*/ 137 h 309"/>
                <a:gd name="T36" fmla="*/ 11 w 169"/>
                <a:gd name="T37" fmla="*/ 150 h 309"/>
                <a:gd name="T38" fmla="*/ 24 w 169"/>
                <a:gd name="T39" fmla="*/ 140 h 309"/>
                <a:gd name="T40" fmla="*/ 38 w 169"/>
                <a:gd name="T41" fmla="*/ 42 h 309"/>
                <a:gd name="T42" fmla="*/ 49 w 169"/>
                <a:gd name="T43" fmla="*/ 42 h 309"/>
                <a:gd name="T44" fmla="*/ 31 w 169"/>
                <a:gd name="T45" fmla="*/ 179 h 309"/>
                <a:gd name="T46" fmla="*/ 45 w 169"/>
                <a:gd name="T47" fmla="*/ 179 h 309"/>
                <a:gd name="T48" fmla="*/ 45 w 169"/>
                <a:gd name="T49" fmla="*/ 291 h 309"/>
                <a:gd name="T50" fmla="*/ 61 w 169"/>
                <a:gd name="T51" fmla="*/ 309 h 309"/>
                <a:gd name="T52" fmla="*/ 61 w 169"/>
                <a:gd name="T53" fmla="*/ 309 h 309"/>
                <a:gd name="T54" fmla="*/ 61 w 169"/>
                <a:gd name="T55" fmla="*/ 309 h 309"/>
                <a:gd name="T56" fmla="*/ 77 w 169"/>
                <a:gd name="T57" fmla="*/ 291 h 309"/>
                <a:gd name="T58" fmla="*/ 77 w 169"/>
                <a:gd name="T59" fmla="*/ 179 h 309"/>
                <a:gd name="T60" fmla="*/ 92 w 169"/>
                <a:gd name="T61" fmla="*/ 179 h 309"/>
                <a:gd name="T62" fmla="*/ 92 w 169"/>
                <a:gd name="T63" fmla="*/ 291 h 309"/>
                <a:gd name="T64" fmla="*/ 108 w 169"/>
                <a:gd name="T65" fmla="*/ 309 h 309"/>
                <a:gd name="T66" fmla="*/ 108 w 169"/>
                <a:gd name="T67" fmla="*/ 309 h 309"/>
                <a:gd name="T68" fmla="*/ 108 w 169"/>
                <a:gd name="T69" fmla="*/ 309 h 309"/>
                <a:gd name="T70" fmla="*/ 124 w 169"/>
                <a:gd name="T71" fmla="*/ 291 h 309"/>
                <a:gd name="T72" fmla="*/ 124 w 169"/>
                <a:gd name="T73" fmla="*/ 179 h 309"/>
                <a:gd name="T74" fmla="*/ 138 w 169"/>
                <a:gd name="T75" fmla="*/ 179 h 309"/>
                <a:gd name="T76" fmla="*/ 120 w 169"/>
                <a:gd name="T77" fmla="*/ 43 h 309"/>
                <a:gd name="T78" fmla="*/ 120 w 169"/>
                <a:gd name="T79" fmla="*/ 42 h 309"/>
                <a:gd name="T80" fmla="*/ 131 w 169"/>
                <a:gd name="T81" fmla="*/ 42 h 309"/>
                <a:gd name="T82" fmla="*/ 145 w 169"/>
                <a:gd name="T83" fmla="*/ 140 h 309"/>
                <a:gd name="T84" fmla="*/ 158 w 169"/>
                <a:gd name="T85" fmla="*/ 150 h 309"/>
                <a:gd name="T86" fmla="*/ 168 w 169"/>
                <a:gd name="T87" fmla="*/ 1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9" h="309">
                  <a:moveTo>
                    <a:pt x="168" y="137"/>
                  </a:moveTo>
                  <a:cubicBezTo>
                    <a:pt x="155" y="41"/>
                    <a:pt x="155" y="41"/>
                    <a:pt x="155" y="41"/>
                  </a:cubicBezTo>
                  <a:cubicBezTo>
                    <a:pt x="155" y="41"/>
                    <a:pt x="155" y="41"/>
                    <a:pt x="155" y="41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6"/>
                    <a:pt x="154" y="36"/>
                    <a:pt x="154" y="36"/>
                  </a:cubicBezTo>
                  <a:cubicBezTo>
                    <a:pt x="154" y="33"/>
                    <a:pt x="153" y="29"/>
                    <a:pt x="153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48" y="11"/>
                    <a:pt x="135" y="1"/>
                    <a:pt x="119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4" y="1"/>
                    <a:pt x="21" y="11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9"/>
                    <a:pt x="15" y="33"/>
                    <a:pt x="15" y="36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43"/>
                    <a:pt x="5" y="149"/>
                    <a:pt x="11" y="150"/>
                  </a:cubicBezTo>
                  <a:cubicBezTo>
                    <a:pt x="17" y="151"/>
                    <a:pt x="23" y="147"/>
                    <a:pt x="24" y="140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31" y="179"/>
                    <a:pt x="31" y="179"/>
                    <a:pt x="3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45" y="301"/>
                    <a:pt x="52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70" y="309"/>
                    <a:pt x="77" y="301"/>
                    <a:pt x="77" y="291"/>
                  </a:cubicBezTo>
                  <a:cubicBezTo>
                    <a:pt x="77" y="179"/>
                    <a:pt x="77" y="179"/>
                    <a:pt x="77" y="179"/>
                  </a:cubicBezTo>
                  <a:cubicBezTo>
                    <a:pt x="92" y="179"/>
                    <a:pt x="92" y="179"/>
                    <a:pt x="92" y="179"/>
                  </a:cubicBezTo>
                  <a:cubicBezTo>
                    <a:pt x="92" y="291"/>
                    <a:pt x="92" y="291"/>
                    <a:pt x="92" y="291"/>
                  </a:cubicBezTo>
                  <a:cubicBezTo>
                    <a:pt x="92" y="301"/>
                    <a:pt x="99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17" y="309"/>
                    <a:pt x="124" y="301"/>
                    <a:pt x="124" y="291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38" y="179"/>
                    <a:pt x="138" y="179"/>
                    <a:pt x="138" y="179"/>
                  </a:cubicBezTo>
                  <a:cubicBezTo>
                    <a:pt x="120" y="43"/>
                    <a:pt x="120" y="43"/>
                    <a:pt x="120" y="43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7"/>
                    <a:pt x="152" y="151"/>
                    <a:pt x="158" y="150"/>
                  </a:cubicBezTo>
                  <a:cubicBezTo>
                    <a:pt x="164" y="149"/>
                    <a:pt x="169" y="143"/>
                    <a:pt x="168" y="1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7104063" y="-2260600"/>
              <a:ext cx="80963" cy="80962"/>
            </a:xfrm>
            <a:custGeom>
              <a:avLst/>
              <a:gdLst>
                <a:gd name="T0" fmla="*/ 34 w 69"/>
                <a:gd name="T1" fmla="*/ 70 h 70"/>
                <a:gd name="T2" fmla="*/ 35 w 69"/>
                <a:gd name="T3" fmla="*/ 70 h 70"/>
                <a:gd name="T4" fmla="*/ 35 w 69"/>
                <a:gd name="T5" fmla="*/ 70 h 70"/>
                <a:gd name="T6" fmla="*/ 69 w 69"/>
                <a:gd name="T7" fmla="*/ 35 h 70"/>
                <a:gd name="T8" fmla="*/ 35 w 69"/>
                <a:gd name="T9" fmla="*/ 0 h 70"/>
                <a:gd name="T10" fmla="*/ 35 w 69"/>
                <a:gd name="T11" fmla="*/ 0 h 70"/>
                <a:gd name="T12" fmla="*/ 34 w 69"/>
                <a:gd name="T13" fmla="*/ 0 h 70"/>
                <a:gd name="T14" fmla="*/ 0 w 69"/>
                <a:gd name="T15" fmla="*/ 35 h 70"/>
                <a:gd name="T16" fmla="*/ 34 w 69"/>
                <a:gd name="T1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70">
                  <a:moveTo>
                    <a:pt x="34" y="70"/>
                  </a:moveTo>
                  <a:cubicBezTo>
                    <a:pt x="35" y="70"/>
                    <a:pt x="35" y="70"/>
                    <a:pt x="35" y="70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54" y="70"/>
                    <a:pt x="69" y="54"/>
                    <a:pt x="69" y="35"/>
                  </a:cubicBezTo>
                  <a:cubicBezTo>
                    <a:pt x="69" y="16"/>
                    <a:pt x="54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4"/>
                    <a:pt x="15" y="70"/>
                    <a:pt x="34" y="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4968875" y="-1325563"/>
              <a:ext cx="566738" cy="757237"/>
            </a:xfrm>
            <a:custGeom>
              <a:avLst/>
              <a:gdLst>
                <a:gd name="T0" fmla="*/ 483 w 483"/>
                <a:gd name="T1" fmla="*/ 242 h 646"/>
                <a:gd name="T2" fmla="*/ 242 w 483"/>
                <a:gd name="T3" fmla="*/ 485 h 646"/>
                <a:gd name="T4" fmla="*/ 97 w 483"/>
                <a:gd name="T5" fmla="*/ 436 h 646"/>
                <a:gd name="T6" fmla="*/ 97 w 483"/>
                <a:gd name="T7" fmla="*/ 356 h 646"/>
                <a:gd name="T8" fmla="*/ 242 w 483"/>
                <a:gd name="T9" fmla="*/ 426 h 646"/>
                <a:gd name="T10" fmla="*/ 423 w 483"/>
                <a:gd name="T11" fmla="*/ 242 h 646"/>
                <a:gd name="T12" fmla="*/ 242 w 483"/>
                <a:gd name="T13" fmla="*/ 59 h 646"/>
                <a:gd name="T14" fmla="*/ 59 w 483"/>
                <a:gd name="T15" fmla="*/ 245 h 646"/>
                <a:gd name="T16" fmla="*/ 59 w 483"/>
                <a:gd name="T17" fmla="*/ 615 h 646"/>
                <a:gd name="T18" fmla="*/ 30 w 483"/>
                <a:gd name="T19" fmla="*/ 646 h 646"/>
                <a:gd name="T20" fmla="*/ 0 w 483"/>
                <a:gd name="T21" fmla="*/ 616 h 646"/>
                <a:gd name="T22" fmla="*/ 0 w 483"/>
                <a:gd name="T23" fmla="*/ 242 h 646"/>
                <a:gd name="T24" fmla="*/ 242 w 483"/>
                <a:gd name="T25" fmla="*/ 0 h 646"/>
                <a:gd name="T26" fmla="*/ 483 w 483"/>
                <a:gd name="T27" fmla="*/ 242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3" h="646">
                  <a:moveTo>
                    <a:pt x="483" y="242"/>
                  </a:moveTo>
                  <a:cubicBezTo>
                    <a:pt x="483" y="377"/>
                    <a:pt x="377" y="485"/>
                    <a:pt x="242" y="485"/>
                  </a:cubicBezTo>
                  <a:cubicBezTo>
                    <a:pt x="187" y="485"/>
                    <a:pt x="139" y="467"/>
                    <a:pt x="97" y="436"/>
                  </a:cubicBezTo>
                  <a:cubicBezTo>
                    <a:pt x="97" y="356"/>
                    <a:pt x="97" y="356"/>
                    <a:pt x="97" y="356"/>
                  </a:cubicBezTo>
                  <a:cubicBezTo>
                    <a:pt x="133" y="401"/>
                    <a:pt x="184" y="426"/>
                    <a:pt x="242" y="426"/>
                  </a:cubicBezTo>
                  <a:cubicBezTo>
                    <a:pt x="345" y="426"/>
                    <a:pt x="423" y="344"/>
                    <a:pt x="423" y="242"/>
                  </a:cubicBezTo>
                  <a:cubicBezTo>
                    <a:pt x="423" y="141"/>
                    <a:pt x="342" y="59"/>
                    <a:pt x="242" y="59"/>
                  </a:cubicBezTo>
                  <a:cubicBezTo>
                    <a:pt x="141" y="59"/>
                    <a:pt x="59" y="141"/>
                    <a:pt x="59" y="245"/>
                  </a:cubicBezTo>
                  <a:cubicBezTo>
                    <a:pt x="59" y="615"/>
                    <a:pt x="59" y="615"/>
                    <a:pt x="59" y="615"/>
                  </a:cubicBezTo>
                  <a:cubicBezTo>
                    <a:pt x="59" y="632"/>
                    <a:pt x="46" y="646"/>
                    <a:pt x="30" y="646"/>
                  </a:cubicBezTo>
                  <a:cubicBezTo>
                    <a:pt x="13" y="646"/>
                    <a:pt x="0" y="632"/>
                    <a:pt x="0" y="616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0" y="108"/>
                    <a:pt x="108" y="0"/>
                    <a:pt x="242" y="0"/>
                  </a:cubicBezTo>
                  <a:cubicBezTo>
                    <a:pt x="375" y="0"/>
                    <a:pt x="483" y="108"/>
                    <a:pt x="483" y="2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auto">
            <a:xfrm>
              <a:off x="5588000" y="-1325563"/>
              <a:ext cx="566738" cy="568325"/>
            </a:xfrm>
            <a:custGeom>
              <a:avLst/>
              <a:gdLst>
                <a:gd name="T0" fmla="*/ 241 w 483"/>
                <a:gd name="T1" fmla="*/ 0 h 485"/>
                <a:gd name="T2" fmla="*/ 483 w 483"/>
                <a:gd name="T3" fmla="*/ 242 h 485"/>
                <a:gd name="T4" fmla="*/ 241 w 483"/>
                <a:gd name="T5" fmla="*/ 485 h 485"/>
                <a:gd name="T6" fmla="*/ 0 w 483"/>
                <a:gd name="T7" fmla="*/ 242 h 485"/>
                <a:gd name="T8" fmla="*/ 241 w 483"/>
                <a:gd name="T9" fmla="*/ 0 h 485"/>
                <a:gd name="T10" fmla="*/ 241 w 483"/>
                <a:gd name="T11" fmla="*/ 426 h 485"/>
                <a:gd name="T12" fmla="*/ 425 w 483"/>
                <a:gd name="T13" fmla="*/ 242 h 485"/>
                <a:gd name="T14" fmla="*/ 241 w 483"/>
                <a:gd name="T15" fmla="*/ 58 h 485"/>
                <a:gd name="T16" fmla="*/ 59 w 483"/>
                <a:gd name="T17" fmla="*/ 242 h 485"/>
                <a:gd name="T18" fmla="*/ 241 w 483"/>
                <a:gd name="T19" fmla="*/ 42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3" h="485">
                  <a:moveTo>
                    <a:pt x="241" y="0"/>
                  </a:moveTo>
                  <a:cubicBezTo>
                    <a:pt x="376" y="0"/>
                    <a:pt x="483" y="108"/>
                    <a:pt x="483" y="242"/>
                  </a:cubicBezTo>
                  <a:cubicBezTo>
                    <a:pt x="483" y="377"/>
                    <a:pt x="376" y="485"/>
                    <a:pt x="241" y="485"/>
                  </a:cubicBezTo>
                  <a:cubicBezTo>
                    <a:pt x="107" y="485"/>
                    <a:pt x="0" y="377"/>
                    <a:pt x="0" y="242"/>
                  </a:cubicBezTo>
                  <a:cubicBezTo>
                    <a:pt x="0" y="108"/>
                    <a:pt x="107" y="0"/>
                    <a:pt x="241" y="0"/>
                  </a:cubicBezTo>
                  <a:close/>
                  <a:moveTo>
                    <a:pt x="241" y="426"/>
                  </a:moveTo>
                  <a:cubicBezTo>
                    <a:pt x="344" y="426"/>
                    <a:pt x="425" y="344"/>
                    <a:pt x="425" y="242"/>
                  </a:cubicBezTo>
                  <a:cubicBezTo>
                    <a:pt x="425" y="140"/>
                    <a:pt x="344" y="58"/>
                    <a:pt x="241" y="58"/>
                  </a:cubicBezTo>
                  <a:cubicBezTo>
                    <a:pt x="139" y="58"/>
                    <a:pt x="59" y="140"/>
                    <a:pt x="59" y="242"/>
                  </a:cubicBezTo>
                  <a:cubicBezTo>
                    <a:pt x="59" y="344"/>
                    <a:pt x="139" y="426"/>
                    <a:pt x="241" y="4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 userDrawn="1"/>
          </p:nvSpPr>
          <p:spPr bwMode="auto">
            <a:xfrm>
              <a:off x="6191250" y="-1325563"/>
              <a:ext cx="342900" cy="568325"/>
            </a:xfrm>
            <a:custGeom>
              <a:avLst/>
              <a:gdLst>
                <a:gd name="T0" fmla="*/ 248 w 292"/>
                <a:gd name="T1" fmla="*/ 120 h 485"/>
                <a:gd name="T2" fmla="*/ 214 w 292"/>
                <a:gd name="T3" fmla="*/ 98 h 485"/>
                <a:gd name="T4" fmla="*/ 144 w 292"/>
                <a:gd name="T5" fmla="*/ 57 h 485"/>
                <a:gd name="T6" fmla="*/ 76 w 292"/>
                <a:gd name="T7" fmla="*/ 122 h 485"/>
                <a:gd name="T8" fmla="*/ 157 w 292"/>
                <a:gd name="T9" fmla="*/ 200 h 485"/>
                <a:gd name="T10" fmla="*/ 239 w 292"/>
                <a:gd name="T11" fmla="*/ 238 h 485"/>
                <a:gd name="T12" fmla="*/ 292 w 292"/>
                <a:gd name="T13" fmla="*/ 340 h 485"/>
                <a:gd name="T14" fmla="*/ 146 w 292"/>
                <a:gd name="T15" fmla="*/ 485 h 485"/>
                <a:gd name="T16" fmla="*/ 1 w 292"/>
                <a:gd name="T17" fmla="*/ 362 h 485"/>
                <a:gd name="T18" fmla="*/ 0 w 292"/>
                <a:gd name="T19" fmla="*/ 353 h 485"/>
                <a:gd name="T20" fmla="*/ 31 w 292"/>
                <a:gd name="T21" fmla="*/ 322 h 485"/>
                <a:gd name="T22" fmla="*/ 62 w 292"/>
                <a:gd name="T23" fmla="*/ 351 h 485"/>
                <a:gd name="T24" fmla="*/ 148 w 292"/>
                <a:gd name="T25" fmla="*/ 427 h 485"/>
                <a:gd name="T26" fmla="*/ 231 w 292"/>
                <a:gd name="T27" fmla="*/ 350 h 485"/>
                <a:gd name="T28" fmla="*/ 139 w 292"/>
                <a:gd name="T29" fmla="*/ 257 h 485"/>
                <a:gd name="T30" fmla="*/ 14 w 292"/>
                <a:gd name="T31" fmla="*/ 127 h 485"/>
                <a:gd name="T32" fmla="*/ 148 w 292"/>
                <a:gd name="T33" fmla="*/ 0 h 485"/>
                <a:gd name="T34" fmla="*/ 272 w 292"/>
                <a:gd name="T35" fmla="*/ 89 h 485"/>
                <a:gd name="T36" fmla="*/ 248 w 292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2" h="485">
                  <a:moveTo>
                    <a:pt x="248" y="120"/>
                  </a:moveTo>
                  <a:cubicBezTo>
                    <a:pt x="233" y="122"/>
                    <a:pt x="221" y="115"/>
                    <a:pt x="214" y="98"/>
                  </a:cubicBezTo>
                  <a:cubicBezTo>
                    <a:pt x="201" y="70"/>
                    <a:pt x="176" y="57"/>
                    <a:pt x="144" y="57"/>
                  </a:cubicBezTo>
                  <a:cubicBezTo>
                    <a:pt x="106" y="57"/>
                    <a:pt x="76" y="89"/>
                    <a:pt x="76" y="122"/>
                  </a:cubicBezTo>
                  <a:cubicBezTo>
                    <a:pt x="76" y="158"/>
                    <a:pt x="97" y="179"/>
                    <a:pt x="157" y="200"/>
                  </a:cubicBezTo>
                  <a:cubicBezTo>
                    <a:pt x="185" y="210"/>
                    <a:pt x="217" y="223"/>
                    <a:pt x="239" y="238"/>
                  </a:cubicBezTo>
                  <a:cubicBezTo>
                    <a:pt x="275" y="264"/>
                    <a:pt x="292" y="298"/>
                    <a:pt x="292" y="340"/>
                  </a:cubicBezTo>
                  <a:cubicBezTo>
                    <a:pt x="292" y="428"/>
                    <a:pt x="231" y="485"/>
                    <a:pt x="146" y="485"/>
                  </a:cubicBezTo>
                  <a:cubicBezTo>
                    <a:pt x="67" y="485"/>
                    <a:pt x="20" y="436"/>
                    <a:pt x="1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4" y="322"/>
                    <a:pt x="31" y="322"/>
                  </a:cubicBezTo>
                  <a:cubicBezTo>
                    <a:pt x="48" y="322"/>
                    <a:pt x="59" y="334"/>
                    <a:pt x="62" y="351"/>
                  </a:cubicBezTo>
                  <a:cubicBezTo>
                    <a:pt x="70" y="395"/>
                    <a:pt x="106" y="427"/>
                    <a:pt x="148" y="427"/>
                  </a:cubicBezTo>
                  <a:cubicBezTo>
                    <a:pt x="191" y="427"/>
                    <a:pt x="231" y="392"/>
                    <a:pt x="231" y="350"/>
                  </a:cubicBezTo>
                  <a:cubicBezTo>
                    <a:pt x="231" y="308"/>
                    <a:pt x="205" y="279"/>
                    <a:pt x="139" y="257"/>
                  </a:cubicBezTo>
                  <a:cubicBezTo>
                    <a:pt x="46" y="226"/>
                    <a:pt x="14" y="190"/>
                    <a:pt x="14" y="127"/>
                  </a:cubicBezTo>
                  <a:cubicBezTo>
                    <a:pt x="14" y="54"/>
                    <a:pt x="72" y="0"/>
                    <a:pt x="148" y="0"/>
                  </a:cubicBezTo>
                  <a:cubicBezTo>
                    <a:pt x="215" y="0"/>
                    <a:pt x="272" y="47"/>
                    <a:pt x="272" y="89"/>
                  </a:cubicBezTo>
                  <a:cubicBezTo>
                    <a:pt x="272" y="103"/>
                    <a:pt x="266" y="117"/>
                    <a:pt x="248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auto">
            <a:xfrm>
              <a:off x="6584950" y="-1325563"/>
              <a:ext cx="341313" cy="568325"/>
            </a:xfrm>
            <a:custGeom>
              <a:avLst/>
              <a:gdLst>
                <a:gd name="T0" fmla="*/ 248 w 291"/>
                <a:gd name="T1" fmla="*/ 120 h 485"/>
                <a:gd name="T2" fmla="*/ 213 w 291"/>
                <a:gd name="T3" fmla="*/ 98 h 485"/>
                <a:gd name="T4" fmla="*/ 143 w 291"/>
                <a:gd name="T5" fmla="*/ 57 h 485"/>
                <a:gd name="T6" fmla="*/ 75 w 291"/>
                <a:gd name="T7" fmla="*/ 122 h 485"/>
                <a:gd name="T8" fmla="*/ 156 w 291"/>
                <a:gd name="T9" fmla="*/ 200 h 485"/>
                <a:gd name="T10" fmla="*/ 238 w 291"/>
                <a:gd name="T11" fmla="*/ 238 h 485"/>
                <a:gd name="T12" fmla="*/ 291 w 291"/>
                <a:gd name="T13" fmla="*/ 340 h 485"/>
                <a:gd name="T14" fmla="*/ 145 w 291"/>
                <a:gd name="T15" fmla="*/ 485 h 485"/>
                <a:gd name="T16" fmla="*/ 1 w 291"/>
                <a:gd name="T17" fmla="*/ 362 h 485"/>
                <a:gd name="T18" fmla="*/ 0 w 291"/>
                <a:gd name="T19" fmla="*/ 353 h 485"/>
                <a:gd name="T20" fmla="*/ 30 w 291"/>
                <a:gd name="T21" fmla="*/ 322 h 485"/>
                <a:gd name="T22" fmla="*/ 62 w 291"/>
                <a:gd name="T23" fmla="*/ 351 h 485"/>
                <a:gd name="T24" fmla="*/ 147 w 291"/>
                <a:gd name="T25" fmla="*/ 427 h 485"/>
                <a:gd name="T26" fmla="*/ 230 w 291"/>
                <a:gd name="T27" fmla="*/ 350 h 485"/>
                <a:gd name="T28" fmla="*/ 138 w 291"/>
                <a:gd name="T29" fmla="*/ 257 h 485"/>
                <a:gd name="T30" fmla="*/ 13 w 291"/>
                <a:gd name="T31" fmla="*/ 127 h 485"/>
                <a:gd name="T32" fmla="*/ 147 w 291"/>
                <a:gd name="T33" fmla="*/ 0 h 485"/>
                <a:gd name="T34" fmla="*/ 272 w 291"/>
                <a:gd name="T35" fmla="*/ 89 h 485"/>
                <a:gd name="T36" fmla="*/ 248 w 291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1" h="485">
                  <a:moveTo>
                    <a:pt x="248" y="120"/>
                  </a:moveTo>
                  <a:cubicBezTo>
                    <a:pt x="232" y="122"/>
                    <a:pt x="221" y="115"/>
                    <a:pt x="213" y="98"/>
                  </a:cubicBezTo>
                  <a:cubicBezTo>
                    <a:pt x="201" y="70"/>
                    <a:pt x="176" y="57"/>
                    <a:pt x="143" y="57"/>
                  </a:cubicBezTo>
                  <a:cubicBezTo>
                    <a:pt x="105" y="57"/>
                    <a:pt x="75" y="89"/>
                    <a:pt x="75" y="122"/>
                  </a:cubicBezTo>
                  <a:cubicBezTo>
                    <a:pt x="75" y="158"/>
                    <a:pt x="96" y="179"/>
                    <a:pt x="156" y="200"/>
                  </a:cubicBezTo>
                  <a:cubicBezTo>
                    <a:pt x="184" y="210"/>
                    <a:pt x="217" y="223"/>
                    <a:pt x="238" y="238"/>
                  </a:cubicBezTo>
                  <a:cubicBezTo>
                    <a:pt x="274" y="264"/>
                    <a:pt x="291" y="298"/>
                    <a:pt x="291" y="340"/>
                  </a:cubicBezTo>
                  <a:cubicBezTo>
                    <a:pt x="291" y="428"/>
                    <a:pt x="231" y="485"/>
                    <a:pt x="145" y="485"/>
                  </a:cubicBezTo>
                  <a:cubicBezTo>
                    <a:pt x="67" y="485"/>
                    <a:pt x="19" y="436"/>
                    <a:pt x="1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3" y="322"/>
                    <a:pt x="30" y="322"/>
                  </a:cubicBezTo>
                  <a:cubicBezTo>
                    <a:pt x="48" y="322"/>
                    <a:pt x="58" y="334"/>
                    <a:pt x="62" y="351"/>
                  </a:cubicBezTo>
                  <a:cubicBezTo>
                    <a:pt x="69" y="395"/>
                    <a:pt x="105" y="427"/>
                    <a:pt x="147" y="427"/>
                  </a:cubicBezTo>
                  <a:cubicBezTo>
                    <a:pt x="191" y="427"/>
                    <a:pt x="230" y="392"/>
                    <a:pt x="230" y="350"/>
                  </a:cubicBezTo>
                  <a:cubicBezTo>
                    <a:pt x="230" y="308"/>
                    <a:pt x="204" y="279"/>
                    <a:pt x="138" y="257"/>
                  </a:cubicBezTo>
                  <a:cubicBezTo>
                    <a:pt x="46" y="226"/>
                    <a:pt x="13" y="190"/>
                    <a:pt x="13" y="127"/>
                  </a:cubicBezTo>
                  <a:cubicBezTo>
                    <a:pt x="13" y="54"/>
                    <a:pt x="71" y="0"/>
                    <a:pt x="147" y="0"/>
                  </a:cubicBezTo>
                  <a:cubicBezTo>
                    <a:pt x="215" y="0"/>
                    <a:pt x="272" y="47"/>
                    <a:pt x="272" y="89"/>
                  </a:cubicBezTo>
                  <a:cubicBezTo>
                    <a:pt x="272" y="103"/>
                    <a:pt x="265" y="117"/>
                    <a:pt x="248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auto">
            <a:xfrm>
              <a:off x="6989763" y="-1476375"/>
              <a:ext cx="98425" cy="715962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9" y="83"/>
                    <a:pt x="0" y="6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6992938" y="-1806575"/>
              <a:ext cx="741363" cy="1049337"/>
            </a:xfrm>
            <a:custGeom>
              <a:avLst/>
              <a:gdLst>
                <a:gd name="T0" fmla="*/ 391 w 632"/>
                <a:gd name="T1" fmla="*/ 410 h 895"/>
                <a:gd name="T2" fmla="*/ 247 w 632"/>
                <a:gd name="T3" fmla="*/ 454 h 895"/>
                <a:gd name="T4" fmla="*/ 247 w 632"/>
                <a:gd name="T5" fmla="*/ 534 h 895"/>
                <a:gd name="T6" fmla="*/ 391 w 632"/>
                <a:gd name="T7" fmla="*/ 468 h 895"/>
                <a:gd name="T8" fmla="*/ 571 w 632"/>
                <a:gd name="T9" fmla="*/ 652 h 895"/>
                <a:gd name="T10" fmla="*/ 391 w 632"/>
                <a:gd name="T11" fmla="*/ 836 h 895"/>
                <a:gd name="T12" fmla="*/ 209 w 632"/>
                <a:gd name="T13" fmla="*/ 650 h 895"/>
                <a:gd name="T14" fmla="*/ 209 w 632"/>
                <a:gd name="T15" fmla="*/ 83 h 895"/>
                <a:gd name="T16" fmla="*/ 554 w 632"/>
                <a:gd name="T17" fmla="*/ 83 h 895"/>
                <a:gd name="T18" fmla="*/ 596 w 632"/>
                <a:gd name="T19" fmla="*/ 42 h 895"/>
                <a:gd name="T20" fmla="*/ 554 w 632"/>
                <a:gd name="T21" fmla="*/ 0 h 895"/>
                <a:gd name="T22" fmla="*/ 41 w 632"/>
                <a:gd name="T23" fmla="*/ 0 h 895"/>
                <a:gd name="T24" fmla="*/ 0 w 632"/>
                <a:gd name="T25" fmla="*/ 42 h 895"/>
                <a:gd name="T26" fmla="*/ 41 w 632"/>
                <a:gd name="T27" fmla="*/ 83 h 895"/>
                <a:gd name="T28" fmla="*/ 150 w 632"/>
                <a:gd name="T29" fmla="*/ 83 h 895"/>
                <a:gd name="T30" fmla="*/ 150 w 632"/>
                <a:gd name="T31" fmla="*/ 652 h 895"/>
                <a:gd name="T32" fmla="*/ 391 w 632"/>
                <a:gd name="T33" fmla="*/ 895 h 895"/>
                <a:gd name="T34" fmla="*/ 632 w 632"/>
                <a:gd name="T35" fmla="*/ 652 h 895"/>
                <a:gd name="T36" fmla="*/ 391 w 632"/>
                <a:gd name="T37" fmla="*/ 410 h 895"/>
                <a:gd name="T38" fmla="*/ 14 w 632"/>
                <a:gd name="T39" fmla="*/ 42 h 895"/>
                <a:gd name="T40" fmla="*/ 41 w 632"/>
                <a:gd name="T41" fmla="*/ 15 h 895"/>
                <a:gd name="T42" fmla="*/ 554 w 632"/>
                <a:gd name="T43" fmla="*/ 15 h 895"/>
                <a:gd name="T44" fmla="*/ 582 w 632"/>
                <a:gd name="T45" fmla="*/ 42 h 895"/>
                <a:gd name="T46" fmla="*/ 554 w 632"/>
                <a:gd name="T47" fmla="*/ 69 h 895"/>
                <a:gd name="T48" fmla="*/ 41 w 632"/>
                <a:gd name="T49" fmla="*/ 69 h 895"/>
                <a:gd name="T50" fmla="*/ 14 w 632"/>
                <a:gd name="T51" fmla="*/ 42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32" h="895">
                  <a:moveTo>
                    <a:pt x="391" y="410"/>
                  </a:moveTo>
                  <a:cubicBezTo>
                    <a:pt x="336" y="410"/>
                    <a:pt x="289" y="423"/>
                    <a:pt x="247" y="454"/>
                  </a:cubicBezTo>
                  <a:cubicBezTo>
                    <a:pt x="247" y="534"/>
                    <a:pt x="247" y="534"/>
                    <a:pt x="247" y="534"/>
                  </a:cubicBezTo>
                  <a:cubicBezTo>
                    <a:pt x="284" y="489"/>
                    <a:pt x="333" y="468"/>
                    <a:pt x="391" y="468"/>
                  </a:cubicBezTo>
                  <a:cubicBezTo>
                    <a:pt x="494" y="468"/>
                    <a:pt x="571" y="551"/>
                    <a:pt x="571" y="652"/>
                  </a:cubicBezTo>
                  <a:cubicBezTo>
                    <a:pt x="571" y="754"/>
                    <a:pt x="491" y="836"/>
                    <a:pt x="391" y="836"/>
                  </a:cubicBezTo>
                  <a:cubicBezTo>
                    <a:pt x="290" y="836"/>
                    <a:pt x="209" y="754"/>
                    <a:pt x="209" y="650"/>
                  </a:cubicBezTo>
                  <a:cubicBezTo>
                    <a:pt x="209" y="83"/>
                    <a:pt x="209" y="83"/>
                    <a:pt x="209" y="83"/>
                  </a:cubicBezTo>
                  <a:cubicBezTo>
                    <a:pt x="554" y="83"/>
                    <a:pt x="554" y="83"/>
                    <a:pt x="554" y="83"/>
                  </a:cubicBezTo>
                  <a:cubicBezTo>
                    <a:pt x="577" y="83"/>
                    <a:pt x="596" y="64"/>
                    <a:pt x="596" y="42"/>
                  </a:cubicBezTo>
                  <a:cubicBezTo>
                    <a:pt x="596" y="19"/>
                    <a:pt x="577" y="0"/>
                    <a:pt x="554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9" y="0"/>
                    <a:pt x="0" y="19"/>
                    <a:pt x="0" y="42"/>
                  </a:cubicBezTo>
                  <a:cubicBezTo>
                    <a:pt x="0" y="64"/>
                    <a:pt x="19" y="83"/>
                    <a:pt x="41" y="83"/>
                  </a:cubicBezTo>
                  <a:cubicBezTo>
                    <a:pt x="150" y="83"/>
                    <a:pt x="150" y="83"/>
                    <a:pt x="150" y="83"/>
                  </a:cubicBezTo>
                  <a:cubicBezTo>
                    <a:pt x="150" y="652"/>
                    <a:pt x="150" y="652"/>
                    <a:pt x="150" y="652"/>
                  </a:cubicBezTo>
                  <a:cubicBezTo>
                    <a:pt x="150" y="787"/>
                    <a:pt x="257" y="895"/>
                    <a:pt x="391" y="895"/>
                  </a:cubicBezTo>
                  <a:cubicBezTo>
                    <a:pt x="524" y="895"/>
                    <a:pt x="632" y="787"/>
                    <a:pt x="632" y="652"/>
                  </a:cubicBezTo>
                  <a:cubicBezTo>
                    <a:pt x="632" y="518"/>
                    <a:pt x="526" y="410"/>
                    <a:pt x="391" y="410"/>
                  </a:cubicBezTo>
                  <a:close/>
                  <a:moveTo>
                    <a:pt x="14" y="42"/>
                  </a:moveTo>
                  <a:cubicBezTo>
                    <a:pt x="14" y="27"/>
                    <a:pt x="26" y="15"/>
                    <a:pt x="41" y="15"/>
                  </a:cubicBezTo>
                  <a:cubicBezTo>
                    <a:pt x="554" y="15"/>
                    <a:pt x="554" y="15"/>
                    <a:pt x="554" y="15"/>
                  </a:cubicBezTo>
                  <a:cubicBezTo>
                    <a:pt x="570" y="15"/>
                    <a:pt x="582" y="27"/>
                    <a:pt x="582" y="42"/>
                  </a:cubicBezTo>
                  <a:cubicBezTo>
                    <a:pt x="582" y="57"/>
                    <a:pt x="570" y="69"/>
                    <a:pt x="554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26" y="69"/>
                    <a:pt x="14" y="57"/>
                    <a:pt x="14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7800975" y="-1476375"/>
              <a:ext cx="98425" cy="715962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 userDrawn="1"/>
          </p:nvSpPr>
          <p:spPr bwMode="auto">
            <a:xfrm>
              <a:off x="8162925" y="-1476375"/>
              <a:ext cx="98425" cy="715962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23" name="Freeform 20"/>
            <p:cNvSpPr>
              <a:spLocks/>
            </p:cNvSpPr>
            <p:nvPr userDrawn="1"/>
          </p:nvSpPr>
          <p:spPr bwMode="auto">
            <a:xfrm>
              <a:off x="8320088" y="-1519238"/>
              <a:ext cx="311150" cy="755650"/>
            </a:xfrm>
            <a:custGeom>
              <a:avLst/>
              <a:gdLst>
                <a:gd name="T0" fmla="*/ 161 w 264"/>
                <a:gd name="T1" fmla="*/ 175 h 644"/>
                <a:gd name="T2" fmla="*/ 264 w 264"/>
                <a:gd name="T3" fmla="*/ 175 h 644"/>
                <a:gd name="T4" fmla="*/ 264 w 264"/>
                <a:gd name="T5" fmla="*/ 233 h 644"/>
                <a:gd name="T6" fmla="*/ 161 w 264"/>
                <a:gd name="T7" fmla="*/ 233 h 644"/>
                <a:gd name="T8" fmla="*/ 161 w 264"/>
                <a:gd name="T9" fmla="*/ 612 h 644"/>
                <a:gd name="T10" fmla="*/ 132 w 264"/>
                <a:gd name="T11" fmla="*/ 644 h 644"/>
                <a:gd name="T12" fmla="*/ 102 w 264"/>
                <a:gd name="T13" fmla="*/ 612 h 644"/>
                <a:gd name="T14" fmla="*/ 102 w 264"/>
                <a:gd name="T15" fmla="*/ 233 h 644"/>
                <a:gd name="T16" fmla="*/ 0 w 264"/>
                <a:gd name="T17" fmla="*/ 233 h 644"/>
                <a:gd name="T18" fmla="*/ 0 w 264"/>
                <a:gd name="T19" fmla="*/ 175 h 644"/>
                <a:gd name="T20" fmla="*/ 102 w 264"/>
                <a:gd name="T21" fmla="*/ 175 h 644"/>
                <a:gd name="T22" fmla="*/ 102 w 264"/>
                <a:gd name="T23" fmla="*/ 32 h 644"/>
                <a:gd name="T24" fmla="*/ 132 w 264"/>
                <a:gd name="T25" fmla="*/ 0 h 644"/>
                <a:gd name="T26" fmla="*/ 161 w 264"/>
                <a:gd name="T27" fmla="*/ 32 h 644"/>
                <a:gd name="T28" fmla="*/ 161 w 264"/>
                <a:gd name="T29" fmla="*/ 175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4" h="644">
                  <a:moveTo>
                    <a:pt x="161" y="175"/>
                  </a:moveTo>
                  <a:cubicBezTo>
                    <a:pt x="264" y="175"/>
                    <a:pt x="264" y="175"/>
                    <a:pt x="264" y="175"/>
                  </a:cubicBezTo>
                  <a:cubicBezTo>
                    <a:pt x="264" y="233"/>
                    <a:pt x="264" y="233"/>
                    <a:pt x="264" y="233"/>
                  </a:cubicBezTo>
                  <a:cubicBezTo>
                    <a:pt x="161" y="233"/>
                    <a:pt x="161" y="233"/>
                    <a:pt x="161" y="233"/>
                  </a:cubicBezTo>
                  <a:cubicBezTo>
                    <a:pt x="161" y="612"/>
                    <a:pt x="161" y="612"/>
                    <a:pt x="161" y="612"/>
                  </a:cubicBezTo>
                  <a:cubicBezTo>
                    <a:pt x="161" y="630"/>
                    <a:pt x="149" y="644"/>
                    <a:pt x="132" y="644"/>
                  </a:cubicBezTo>
                  <a:cubicBezTo>
                    <a:pt x="114" y="644"/>
                    <a:pt x="102" y="630"/>
                    <a:pt x="102" y="612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102" y="175"/>
                    <a:pt x="102" y="175"/>
                    <a:pt x="102" y="175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14"/>
                    <a:pt x="114" y="0"/>
                    <a:pt x="132" y="0"/>
                  </a:cubicBezTo>
                  <a:cubicBezTo>
                    <a:pt x="149" y="0"/>
                    <a:pt x="161" y="14"/>
                    <a:pt x="161" y="32"/>
                  </a:cubicBezTo>
                  <a:lnTo>
                    <a:pt x="161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24" name="Freeform 21"/>
            <p:cNvSpPr>
              <a:spLocks noEditPoints="1"/>
            </p:cNvSpPr>
            <p:nvPr userDrawn="1"/>
          </p:nvSpPr>
          <p:spPr bwMode="auto">
            <a:xfrm>
              <a:off x="8688388" y="-1476375"/>
              <a:ext cx="98425" cy="715962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9" y="83"/>
                    <a:pt x="0" y="6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25" name="Freeform 22"/>
            <p:cNvSpPr>
              <a:spLocks/>
            </p:cNvSpPr>
            <p:nvPr userDrawn="1"/>
          </p:nvSpPr>
          <p:spPr bwMode="auto">
            <a:xfrm>
              <a:off x="8850313" y="-1325563"/>
              <a:ext cx="560388" cy="568325"/>
            </a:xfrm>
            <a:custGeom>
              <a:avLst/>
              <a:gdLst>
                <a:gd name="T0" fmla="*/ 139 w 478"/>
                <a:gd name="T1" fmla="*/ 205 h 484"/>
                <a:gd name="T2" fmla="*/ 413 w 478"/>
                <a:gd name="T3" fmla="*/ 205 h 484"/>
                <a:gd name="T4" fmla="*/ 239 w 478"/>
                <a:gd name="T5" fmla="*/ 56 h 484"/>
                <a:gd name="T6" fmla="*/ 60 w 478"/>
                <a:gd name="T7" fmla="*/ 237 h 484"/>
                <a:gd name="T8" fmla="*/ 238 w 478"/>
                <a:gd name="T9" fmla="*/ 425 h 484"/>
                <a:gd name="T10" fmla="*/ 396 w 478"/>
                <a:gd name="T11" fmla="*/ 335 h 484"/>
                <a:gd name="T12" fmla="*/ 426 w 478"/>
                <a:gd name="T13" fmla="*/ 318 h 484"/>
                <a:gd name="T14" fmla="*/ 455 w 478"/>
                <a:gd name="T15" fmla="*/ 349 h 484"/>
                <a:gd name="T16" fmla="*/ 449 w 478"/>
                <a:gd name="T17" fmla="*/ 369 h 484"/>
                <a:gd name="T18" fmla="*/ 449 w 478"/>
                <a:gd name="T19" fmla="*/ 369 h 484"/>
                <a:gd name="T20" fmla="*/ 239 w 478"/>
                <a:gd name="T21" fmla="*/ 484 h 484"/>
                <a:gd name="T22" fmla="*/ 0 w 478"/>
                <a:gd name="T23" fmla="*/ 242 h 484"/>
                <a:gd name="T24" fmla="*/ 238 w 478"/>
                <a:gd name="T25" fmla="*/ 0 h 484"/>
                <a:gd name="T26" fmla="*/ 478 w 478"/>
                <a:gd name="T27" fmla="*/ 235 h 484"/>
                <a:gd name="T28" fmla="*/ 449 w 478"/>
                <a:gd name="T29" fmla="*/ 265 h 484"/>
                <a:gd name="T30" fmla="*/ 139 w 478"/>
                <a:gd name="T31" fmla="*/ 265 h 484"/>
                <a:gd name="T32" fmla="*/ 111 w 478"/>
                <a:gd name="T33" fmla="*/ 236 h 484"/>
                <a:gd name="T34" fmla="*/ 139 w 478"/>
                <a:gd name="T35" fmla="*/ 205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8" h="484">
                  <a:moveTo>
                    <a:pt x="139" y="205"/>
                  </a:moveTo>
                  <a:cubicBezTo>
                    <a:pt x="413" y="205"/>
                    <a:pt x="413" y="205"/>
                    <a:pt x="413" y="205"/>
                  </a:cubicBezTo>
                  <a:cubicBezTo>
                    <a:pt x="398" y="118"/>
                    <a:pt x="323" y="56"/>
                    <a:pt x="239" y="56"/>
                  </a:cubicBezTo>
                  <a:cubicBezTo>
                    <a:pt x="146" y="56"/>
                    <a:pt x="60" y="135"/>
                    <a:pt x="60" y="237"/>
                  </a:cubicBezTo>
                  <a:cubicBezTo>
                    <a:pt x="60" y="336"/>
                    <a:pt x="131" y="420"/>
                    <a:pt x="238" y="425"/>
                  </a:cubicBezTo>
                  <a:cubicBezTo>
                    <a:pt x="299" y="427"/>
                    <a:pt x="361" y="392"/>
                    <a:pt x="396" y="335"/>
                  </a:cubicBezTo>
                  <a:cubicBezTo>
                    <a:pt x="402" y="325"/>
                    <a:pt x="413" y="318"/>
                    <a:pt x="426" y="318"/>
                  </a:cubicBezTo>
                  <a:cubicBezTo>
                    <a:pt x="444" y="318"/>
                    <a:pt x="455" y="331"/>
                    <a:pt x="455" y="349"/>
                  </a:cubicBezTo>
                  <a:cubicBezTo>
                    <a:pt x="455" y="356"/>
                    <a:pt x="453" y="363"/>
                    <a:pt x="449" y="369"/>
                  </a:cubicBezTo>
                  <a:cubicBezTo>
                    <a:pt x="449" y="369"/>
                    <a:pt x="449" y="369"/>
                    <a:pt x="449" y="369"/>
                  </a:cubicBezTo>
                  <a:cubicBezTo>
                    <a:pt x="407" y="441"/>
                    <a:pt x="327" y="484"/>
                    <a:pt x="239" y="484"/>
                  </a:cubicBezTo>
                  <a:cubicBezTo>
                    <a:pt x="103" y="480"/>
                    <a:pt x="0" y="377"/>
                    <a:pt x="0" y="242"/>
                  </a:cubicBezTo>
                  <a:cubicBezTo>
                    <a:pt x="0" y="107"/>
                    <a:pt x="103" y="0"/>
                    <a:pt x="238" y="0"/>
                  </a:cubicBezTo>
                  <a:cubicBezTo>
                    <a:pt x="361" y="0"/>
                    <a:pt x="478" y="95"/>
                    <a:pt x="478" y="235"/>
                  </a:cubicBezTo>
                  <a:cubicBezTo>
                    <a:pt x="478" y="254"/>
                    <a:pt x="465" y="265"/>
                    <a:pt x="449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23" y="265"/>
                    <a:pt x="111" y="252"/>
                    <a:pt x="111" y="236"/>
                  </a:cubicBezTo>
                  <a:cubicBezTo>
                    <a:pt x="111" y="220"/>
                    <a:pt x="123" y="205"/>
                    <a:pt x="139" y="2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26" name="Freeform 23"/>
            <p:cNvSpPr>
              <a:spLocks/>
            </p:cNvSpPr>
            <p:nvPr userDrawn="1"/>
          </p:nvSpPr>
          <p:spPr bwMode="auto">
            <a:xfrm>
              <a:off x="9440863" y="-1325563"/>
              <a:ext cx="341313" cy="568325"/>
            </a:xfrm>
            <a:custGeom>
              <a:avLst/>
              <a:gdLst>
                <a:gd name="T0" fmla="*/ 247 w 291"/>
                <a:gd name="T1" fmla="*/ 120 h 485"/>
                <a:gd name="T2" fmla="*/ 213 w 291"/>
                <a:gd name="T3" fmla="*/ 98 h 485"/>
                <a:gd name="T4" fmla="*/ 143 w 291"/>
                <a:gd name="T5" fmla="*/ 57 h 485"/>
                <a:gd name="T6" fmla="*/ 75 w 291"/>
                <a:gd name="T7" fmla="*/ 122 h 485"/>
                <a:gd name="T8" fmla="*/ 156 w 291"/>
                <a:gd name="T9" fmla="*/ 200 h 485"/>
                <a:gd name="T10" fmla="*/ 238 w 291"/>
                <a:gd name="T11" fmla="*/ 238 h 485"/>
                <a:gd name="T12" fmla="*/ 291 w 291"/>
                <a:gd name="T13" fmla="*/ 340 h 485"/>
                <a:gd name="T14" fmla="*/ 145 w 291"/>
                <a:gd name="T15" fmla="*/ 485 h 485"/>
                <a:gd name="T16" fmla="*/ 0 w 291"/>
                <a:gd name="T17" fmla="*/ 362 h 485"/>
                <a:gd name="T18" fmla="*/ 0 w 291"/>
                <a:gd name="T19" fmla="*/ 353 h 485"/>
                <a:gd name="T20" fmla="*/ 30 w 291"/>
                <a:gd name="T21" fmla="*/ 322 h 485"/>
                <a:gd name="T22" fmla="*/ 61 w 291"/>
                <a:gd name="T23" fmla="*/ 351 h 485"/>
                <a:gd name="T24" fmla="*/ 147 w 291"/>
                <a:gd name="T25" fmla="*/ 427 h 485"/>
                <a:gd name="T26" fmla="*/ 230 w 291"/>
                <a:gd name="T27" fmla="*/ 350 h 485"/>
                <a:gd name="T28" fmla="*/ 138 w 291"/>
                <a:gd name="T29" fmla="*/ 257 h 485"/>
                <a:gd name="T30" fmla="*/ 13 w 291"/>
                <a:gd name="T31" fmla="*/ 127 h 485"/>
                <a:gd name="T32" fmla="*/ 147 w 291"/>
                <a:gd name="T33" fmla="*/ 0 h 485"/>
                <a:gd name="T34" fmla="*/ 271 w 291"/>
                <a:gd name="T35" fmla="*/ 89 h 485"/>
                <a:gd name="T36" fmla="*/ 247 w 291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1" h="485">
                  <a:moveTo>
                    <a:pt x="247" y="120"/>
                  </a:moveTo>
                  <a:cubicBezTo>
                    <a:pt x="232" y="122"/>
                    <a:pt x="220" y="115"/>
                    <a:pt x="213" y="98"/>
                  </a:cubicBezTo>
                  <a:cubicBezTo>
                    <a:pt x="200" y="70"/>
                    <a:pt x="175" y="57"/>
                    <a:pt x="143" y="57"/>
                  </a:cubicBezTo>
                  <a:cubicBezTo>
                    <a:pt x="105" y="57"/>
                    <a:pt x="75" y="89"/>
                    <a:pt x="75" y="122"/>
                  </a:cubicBezTo>
                  <a:cubicBezTo>
                    <a:pt x="75" y="158"/>
                    <a:pt x="96" y="179"/>
                    <a:pt x="156" y="200"/>
                  </a:cubicBezTo>
                  <a:cubicBezTo>
                    <a:pt x="184" y="210"/>
                    <a:pt x="216" y="223"/>
                    <a:pt x="238" y="238"/>
                  </a:cubicBezTo>
                  <a:cubicBezTo>
                    <a:pt x="274" y="264"/>
                    <a:pt x="291" y="298"/>
                    <a:pt x="291" y="340"/>
                  </a:cubicBezTo>
                  <a:cubicBezTo>
                    <a:pt x="291" y="428"/>
                    <a:pt x="230" y="485"/>
                    <a:pt x="145" y="485"/>
                  </a:cubicBezTo>
                  <a:cubicBezTo>
                    <a:pt x="66" y="485"/>
                    <a:pt x="19" y="436"/>
                    <a:pt x="0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3" y="322"/>
                    <a:pt x="30" y="322"/>
                  </a:cubicBezTo>
                  <a:cubicBezTo>
                    <a:pt x="47" y="322"/>
                    <a:pt x="58" y="334"/>
                    <a:pt x="61" y="351"/>
                  </a:cubicBezTo>
                  <a:cubicBezTo>
                    <a:pt x="69" y="395"/>
                    <a:pt x="105" y="427"/>
                    <a:pt x="147" y="427"/>
                  </a:cubicBezTo>
                  <a:cubicBezTo>
                    <a:pt x="190" y="427"/>
                    <a:pt x="230" y="392"/>
                    <a:pt x="230" y="350"/>
                  </a:cubicBezTo>
                  <a:cubicBezTo>
                    <a:pt x="230" y="308"/>
                    <a:pt x="204" y="279"/>
                    <a:pt x="138" y="257"/>
                  </a:cubicBezTo>
                  <a:cubicBezTo>
                    <a:pt x="46" y="226"/>
                    <a:pt x="13" y="190"/>
                    <a:pt x="13" y="127"/>
                  </a:cubicBezTo>
                  <a:cubicBezTo>
                    <a:pt x="13" y="54"/>
                    <a:pt x="71" y="0"/>
                    <a:pt x="147" y="0"/>
                  </a:cubicBezTo>
                  <a:cubicBezTo>
                    <a:pt x="215" y="0"/>
                    <a:pt x="271" y="47"/>
                    <a:pt x="271" y="89"/>
                  </a:cubicBezTo>
                  <a:cubicBezTo>
                    <a:pt x="271" y="103"/>
                    <a:pt x="265" y="117"/>
                    <a:pt x="247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27" name="Freeform 24"/>
            <p:cNvSpPr>
              <a:spLocks/>
            </p:cNvSpPr>
            <p:nvPr userDrawn="1"/>
          </p:nvSpPr>
          <p:spPr bwMode="auto">
            <a:xfrm>
              <a:off x="7824788" y="-2549525"/>
              <a:ext cx="406400" cy="1785937"/>
            </a:xfrm>
            <a:custGeom>
              <a:avLst/>
              <a:gdLst>
                <a:gd name="T0" fmla="*/ 334 w 347"/>
                <a:gd name="T1" fmla="*/ 147 h 1523"/>
                <a:gd name="T2" fmla="*/ 201 w 347"/>
                <a:gd name="T3" fmla="*/ 13 h 1523"/>
                <a:gd name="T4" fmla="*/ 152 w 347"/>
                <a:gd name="T5" fmla="*/ 13 h 1523"/>
                <a:gd name="T6" fmla="*/ 14 w 347"/>
                <a:gd name="T7" fmla="*/ 145 h 1523"/>
                <a:gd name="T8" fmla="*/ 13 w 347"/>
                <a:gd name="T9" fmla="*/ 194 h 1523"/>
                <a:gd name="T10" fmla="*/ 61 w 347"/>
                <a:gd name="T11" fmla="*/ 195 h 1523"/>
                <a:gd name="T12" fmla="*/ 146 w 347"/>
                <a:gd name="T13" fmla="*/ 116 h 1523"/>
                <a:gd name="T14" fmla="*/ 146 w 347"/>
                <a:gd name="T15" fmla="*/ 1491 h 1523"/>
                <a:gd name="T16" fmla="*/ 175 w 347"/>
                <a:gd name="T17" fmla="*/ 1523 h 1523"/>
                <a:gd name="T18" fmla="*/ 205 w 347"/>
                <a:gd name="T19" fmla="*/ 1491 h 1523"/>
                <a:gd name="T20" fmla="*/ 205 w 347"/>
                <a:gd name="T21" fmla="*/ 115 h 1523"/>
                <a:gd name="T22" fmla="*/ 206 w 347"/>
                <a:gd name="T23" fmla="*/ 115 h 1523"/>
                <a:gd name="T24" fmla="*/ 285 w 347"/>
                <a:gd name="T25" fmla="*/ 195 h 1523"/>
                <a:gd name="T26" fmla="*/ 309 w 347"/>
                <a:gd name="T27" fmla="*/ 205 h 1523"/>
                <a:gd name="T28" fmla="*/ 334 w 347"/>
                <a:gd name="T29" fmla="*/ 195 h 1523"/>
                <a:gd name="T30" fmla="*/ 334 w 347"/>
                <a:gd name="T31" fmla="*/ 147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7" h="1523">
                  <a:moveTo>
                    <a:pt x="334" y="147"/>
                  </a:moveTo>
                  <a:cubicBezTo>
                    <a:pt x="201" y="13"/>
                    <a:pt x="201" y="13"/>
                    <a:pt x="201" y="13"/>
                  </a:cubicBezTo>
                  <a:cubicBezTo>
                    <a:pt x="187" y="0"/>
                    <a:pt x="166" y="0"/>
                    <a:pt x="152" y="13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0" y="158"/>
                    <a:pt x="0" y="180"/>
                    <a:pt x="13" y="194"/>
                  </a:cubicBezTo>
                  <a:cubicBezTo>
                    <a:pt x="26" y="208"/>
                    <a:pt x="48" y="208"/>
                    <a:pt x="61" y="195"/>
                  </a:cubicBezTo>
                  <a:cubicBezTo>
                    <a:pt x="146" y="116"/>
                    <a:pt x="146" y="116"/>
                    <a:pt x="146" y="116"/>
                  </a:cubicBezTo>
                  <a:cubicBezTo>
                    <a:pt x="146" y="1491"/>
                    <a:pt x="146" y="1491"/>
                    <a:pt x="146" y="1491"/>
                  </a:cubicBezTo>
                  <a:cubicBezTo>
                    <a:pt x="146" y="1509"/>
                    <a:pt x="158" y="1523"/>
                    <a:pt x="175" y="1523"/>
                  </a:cubicBezTo>
                  <a:cubicBezTo>
                    <a:pt x="194" y="1523"/>
                    <a:pt x="205" y="1509"/>
                    <a:pt x="205" y="1491"/>
                  </a:cubicBezTo>
                  <a:cubicBezTo>
                    <a:pt x="205" y="115"/>
                    <a:pt x="205" y="115"/>
                    <a:pt x="205" y="115"/>
                  </a:cubicBezTo>
                  <a:cubicBezTo>
                    <a:pt x="206" y="115"/>
                    <a:pt x="206" y="115"/>
                    <a:pt x="206" y="115"/>
                  </a:cubicBezTo>
                  <a:cubicBezTo>
                    <a:pt x="285" y="195"/>
                    <a:pt x="285" y="195"/>
                    <a:pt x="285" y="195"/>
                  </a:cubicBezTo>
                  <a:cubicBezTo>
                    <a:pt x="292" y="202"/>
                    <a:pt x="301" y="205"/>
                    <a:pt x="309" y="205"/>
                  </a:cubicBezTo>
                  <a:cubicBezTo>
                    <a:pt x="318" y="205"/>
                    <a:pt x="327" y="202"/>
                    <a:pt x="334" y="195"/>
                  </a:cubicBezTo>
                  <a:cubicBezTo>
                    <a:pt x="347" y="182"/>
                    <a:pt x="347" y="160"/>
                    <a:pt x="334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28" name="Freeform 25"/>
            <p:cNvSpPr>
              <a:spLocks/>
            </p:cNvSpPr>
            <p:nvPr userDrawn="1"/>
          </p:nvSpPr>
          <p:spPr bwMode="auto">
            <a:xfrm>
              <a:off x="8066088" y="-79057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29" name="Line 26"/>
            <p:cNvSpPr>
              <a:spLocks noChangeShapeType="1"/>
            </p:cNvSpPr>
            <p:nvPr userDrawn="1"/>
          </p:nvSpPr>
          <p:spPr bwMode="auto">
            <a:xfrm flipV="1">
              <a:off x="8066088" y="-790575"/>
              <a:ext cx="0" cy="1587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30" name="Freeform 27"/>
            <p:cNvSpPr>
              <a:spLocks noEditPoints="1"/>
            </p:cNvSpPr>
            <p:nvPr userDrawn="1"/>
          </p:nvSpPr>
          <p:spPr bwMode="auto">
            <a:xfrm>
              <a:off x="9821863" y="-947738"/>
              <a:ext cx="190500" cy="190500"/>
            </a:xfrm>
            <a:custGeom>
              <a:avLst/>
              <a:gdLst>
                <a:gd name="T0" fmla="*/ 20 w 162"/>
                <a:gd name="T1" fmla="*/ 82 h 162"/>
                <a:gd name="T2" fmla="*/ 82 w 162"/>
                <a:gd name="T3" fmla="*/ 144 h 162"/>
                <a:gd name="T4" fmla="*/ 142 w 162"/>
                <a:gd name="T5" fmla="*/ 81 h 162"/>
                <a:gd name="T6" fmla="*/ 82 w 162"/>
                <a:gd name="T7" fmla="*/ 18 h 162"/>
                <a:gd name="T8" fmla="*/ 20 w 162"/>
                <a:gd name="T9" fmla="*/ 82 h 162"/>
                <a:gd name="T10" fmla="*/ 162 w 162"/>
                <a:gd name="T11" fmla="*/ 82 h 162"/>
                <a:gd name="T12" fmla="*/ 82 w 162"/>
                <a:gd name="T13" fmla="*/ 162 h 162"/>
                <a:gd name="T14" fmla="*/ 0 w 162"/>
                <a:gd name="T15" fmla="*/ 82 h 162"/>
                <a:gd name="T16" fmla="*/ 82 w 162"/>
                <a:gd name="T17" fmla="*/ 0 h 162"/>
                <a:gd name="T18" fmla="*/ 162 w 162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62">
                  <a:moveTo>
                    <a:pt x="20" y="82"/>
                  </a:moveTo>
                  <a:cubicBezTo>
                    <a:pt x="20" y="117"/>
                    <a:pt x="48" y="144"/>
                    <a:pt x="82" y="144"/>
                  </a:cubicBezTo>
                  <a:cubicBezTo>
                    <a:pt x="115" y="144"/>
                    <a:pt x="142" y="116"/>
                    <a:pt x="142" y="81"/>
                  </a:cubicBezTo>
                  <a:cubicBezTo>
                    <a:pt x="142" y="46"/>
                    <a:pt x="114" y="18"/>
                    <a:pt x="82" y="18"/>
                  </a:cubicBezTo>
                  <a:cubicBezTo>
                    <a:pt x="47" y="18"/>
                    <a:pt x="20" y="47"/>
                    <a:pt x="20" y="82"/>
                  </a:cubicBezTo>
                  <a:moveTo>
                    <a:pt x="162" y="82"/>
                  </a:moveTo>
                  <a:cubicBezTo>
                    <a:pt x="162" y="125"/>
                    <a:pt x="124" y="162"/>
                    <a:pt x="82" y="162"/>
                  </a:cubicBezTo>
                  <a:cubicBezTo>
                    <a:pt x="37" y="162"/>
                    <a:pt x="0" y="126"/>
                    <a:pt x="0" y="82"/>
                  </a:cubicBezTo>
                  <a:cubicBezTo>
                    <a:pt x="0" y="37"/>
                    <a:pt x="36" y="0"/>
                    <a:pt x="82" y="0"/>
                  </a:cubicBezTo>
                  <a:cubicBezTo>
                    <a:pt x="125" y="0"/>
                    <a:pt x="162" y="37"/>
                    <a:pt x="162" y="8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28"/>
            <p:cNvSpPr>
              <a:spLocks noEditPoints="1"/>
            </p:cNvSpPr>
            <p:nvPr userDrawn="1"/>
          </p:nvSpPr>
          <p:spPr bwMode="auto">
            <a:xfrm>
              <a:off x="10048875" y="-947738"/>
              <a:ext cx="188913" cy="190500"/>
            </a:xfrm>
            <a:custGeom>
              <a:avLst/>
              <a:gdLst>
                <a:gd name="T0" fmla="*/ 19 w 161"/>
                <a:gd name="T1" fmla="*/ 82 h 162"/>
                <a:gd name="T2" fmla="*/ 81 w 161"/>
                <a:gd name="T3" fmla="*/ 144 h 162"/>
                <a:gd name="T4" fmla="*/ 141 w 161"/>
                <a:gd name="T5" fmla="*/ 81 h 162"/>
                <a:gd name="T6" fmla="*/ 81 w 161"/>
                <a:gd name="T7" fmla="*/ 18 h 162"/>
                <a:gd name="T8" fmla="*/ 19 w 161"/>
                <a:gd name="T9" fmla="*/ 82 h 162"/>
                <a:gd name="T10" fmla="*/ 161 w 161"/>
                <a:gd name="T11" fmla="*/ 82 h 162"/>
                <a:gd name="T12" fmla="*/ 81 w 161"/>
                <a:gd name="T13" fmla="*/ 162 h 162"/>
                <a:gd name="T14" fmla="*/ 0 w 161"/>
                <a:gd name="T15" fmla="*/ 82 h 162"/>
                <a:gd name="T16" fmla="*/ 81 w 161"/>
                <a:gd name="T17" fmla="*/ 0 h 162"/>
                <a:gd name="T18" fmla="*/ 161 w 161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19" y="82"/>
                  </a:moveTo>
                  <a:cubicBezTo>
                    <a:pt x="19" y="117"/>
                    <a:pt x="47" y="144"/>
                    <a:pt x="81" y="144"/>
                  </a:cubicBezTo>
                  <a:cubicBezTo>
                    <a:pt x="115" y="144"/>
                    <a:pt x="141" y="116"/>
                    <a:pt x="141" y="81"/>
                  </a:cubicBezTo>
                  <a:cubicBezTo>
                    <a:pt x="141" y="46"/>
                    <a:pt x="114" y="18"/>
                    <a:pt x="81" y="18"/>
                  </a:cubicBezTo>
                  <a:cubicBezTo>
                    <a:pt x="47" y="18"/>
                    <a:pt x="19" y="47"/>
                    <a:pt x="19" y="82"/>
                  </a:cubicBezTo>
                  <a:moveTo>
                    <a:pt x="161" y="82"/>
                  </a:moveTo>
                  <a:cubicBezTo>
                    <a:pt x="161" y="125"/>
                    <a:pt x="124" y="162"/>
                    <a:pt x="81" y="162"/>
                  </a:cubicBezTo>
                  <a:cubicBezTo>
                    <a:pt x="36" y="162"/>
                    <a:pt x="0" y="126"/>
                    <a:pt x="0" y="82"/>
                  </a:cubicBezTo>
                  <a:cubicBezTo>
                    <a:pt x="0" y="37"/>
                    <a:pt x="36" y="0"/>
                    <a:pt x="81" y="0"/>
                  </a:cubicBezTo>
                  <a:cubicBezTo>
                    <a:pt x="125" y="0"/>
                    <a:pt x="161" y="37"/>
                    <a:pt x="161" y="8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2048" name="Freeform 29"/>
            <p:cNvSpPr>
              <a:spLocks noEditPoints="1"/>
            </p:cNvSpPr>
            <p:nvPr userDrawn="1"/>
          </p:nvSpPr>
          <p:spPr bwMode="auto">
            <a:xfrm>
              <a:off x="10275888" y="-947738"/>
              <a:ext cx="188913" cy="190500"/>
            </a:xfrm>
            <a:custGeom>
              <a:avLst/>
              <a:gdLst>
                <a:gd name="T0" fmla="*/ 20 w 161"/>
                <a:gd name="T1" fmla="*/ 82 h 162"/>
                <a:gd name="T2" fmla="*/ 81 w 161"/>
                <a:gd name="T3" fmla="*/ 144 h 162"/>
                <a:gd name="T4" fmla="*/ 141 w 161"/>
                <a:gd name="T5" fmla="*/ 81 h 162"/>
                <a:gd name="T6" fmla="*/ 81 w 161"/>
                <a:gd name="T7" fmla="*/ 18 h 162"/>
                <a:gd name="T8" fmla="*/ 20 w 161"/>
                <a:gd name="T9" fmla="*/ 82 h 162"/>
                <a:gd name="T10" fmla="*/ 161 w 161"/>
                <a:gd name="T11" fmla="*/ 82 h 162"/>
                <a:gd name="T12" fmla="*/ 81 w 161"/>
                <a:gd name="T13" fmla="*/ 162 h 162"/>
                <a:gd name="T14" fmla="*/ 0 w 161"/>
                <a:gd name="T15" fmla="*/ 82 h 162"/>
                <a:gd name="T16" fmla="*/ 81 w 161"/>
                <a:gd name="T17" fmla="*/ 0 h 162"/>
                <a:gd name="T18" fmla="*/ 161 w 161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20" y="82"/>
                  </a:moveTo>
                  <a:cubicBezTo>
                    <a:pt x="20" y="117"/>
                    <a:pt x="47" y="144"/>
                    <a:pt x="81" y="144"/>
                  </a:cubicBezTo>
                  <a:cubicBezTo>
                    <a:pt x="115" y="144"/>
                    <a:pt x="141" y="116"/>
                    <a:pt x="141" y="81"/>
                  </a:cubicBezTo>
                  <a:cubicBezTo>
                    <a:pt x="141" y="46"/>
                    <a:pt x="114" y="18"/>
                    <a:pt x="81" y="18"/>
                  </a:cubicBezTo>
                  <a:cubicBezTo>
                    <a:pt x="47" y="18"/>
                    <a:pt x="20" y="47"/>
                    <a:pt x="20" y="82"/>
                  </a:cubicBezTo>
                  <a:moveTo>
                    <a:pt x="161" y="82"/>
                  </a:moveTo>
                  <a:cubicBezTo>
                    <a:pt x="161" y="125"/>
                    <a:pt x="124" y="162"/>
                    <a:pt x="81" y="162"/>
                  </a:cubicBezTo>
                  <a:cubicBezTo>
                    <a:pt x="37" y="162"/>
                    <a:pt x="0" y="126"/>
                    <a:pt x="0" y="82"/>
                  </a:cubicBezTo>
                  <a:cubicBezTo>
                    <a:pt x="0" y="37"/>
                    <a:pt x="36" y="0"/>
                    <a:pt x="81" y="0"/>
                  </a:cubicBezTo>
                  <a:cubicBezTo>
                    <a:pt x="125" y="0"/>
                    <a:pt x="161" y="37"/>
                    <a:pt x="161" y="8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39458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616745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ctr">
              <a:defRPr lang="en-US" b="0" baseline="0" dirty="0"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7744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616745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ctr">
              <a:defRPr lang="en-US" b="0" baseline="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29663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616745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ctr">
              <a:defRPr lang="en-US" b="0" baseline="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61210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6167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89171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87230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8404" y="467752"/>
            <a:ext cx="8913054" cy="285751"/>
          </a:xfrm>
        </p:spPr>
        <p:txBody>
          <a:bodyPr lIns="0" tIns="0" rIns="0" bIns="0">
            <a:normAutofit/>
          </a:bodyPr>
          <a:lstStyle>
            <a:lvl1pPr algn="l">
              <a:defRPr sz="23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38053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lin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88587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Google Shape;115;p11"/>
          <p:cNvSpPr/>
          <p:nvPr/>
        </p:nvSpPr>
        <p:spPr>
          <a:xfrm flipH="1">
            <a:off x="8733107" y="3512673"/>
            <a:ext cx="359208" cy="1630800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21600" y="21600"/>
                </a:moveTo>
                <a:lnTo>
                  <a:pt x="21600" y="0"/>
                </a:lnTo>
                <a:lnTo>
                  <a:pt x="0" y="863"/>
                </a:ln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" name="Google Shape;116;p11"/>
          <p:cNvSpPr txBox="1">
            <a:spLocks noGrp="1"/>
          </p:cNvSpPr>
          <p:nvPr>
            <p:ph type="sldNum" idx="12"/>
          </p:nvPr>
        </p:nvSpPr>
        <p:spPr>
          <a:xfrm>
            <a:off x="8750792" y="4688650"/>
            <a:ext cx="359100" cy="454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  <p:sp>
        <p:nvSpPr>
          <p:cNvPr id="117" name="Google Shape;117;p11"/>
          <p:cNvSpPr/>
          <p:nvPr/>
        </p:nvSpPr>
        <p:spPr>
          <a:xfrm flipH="1">
            <a:off x="8733107" y="977835"/>
            <a:ext cx="359208" cy="963846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21600"/>
                </a:moveTo>
                <a:lnTo>
                  <a:pt x="21600" y="20140"/>
                </a:lnTo>
                <a:lnTo>
                  <a:pt x="21600" y="0"/>
                </a:lnTo>
                <a:lnTo>
                  <a:pt x="0" y="1460"/>
                </a:lnTo>
                <a:lnTo>
                  <a:pt x="0" y="2160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" name="Google Shape;118;p11"/>
          <p:cNvSpPr/>
          <p:nvPr/>
        </p:nvSpPr>
        <p:spPr>
          <a:xfrm flipH="1">
            <a:off x="8733107" y="0"/>
            <a:ext cx="359208" cy="954126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0125"/>
                </a:lnTo>
                <a:lnTo>
                  <a:pt x="2160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16189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_2_Title only">
    <p:bg>
      <p:bgPr>
        <a:blipFill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C96EA6D-F20A-49BF-97A6-A3111AB534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596" y="595"/>
          <a:ext cx="596" cy="5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C96EA6D-F20A-49BF-97A6-A3111AB534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6" y="595"/>
                        <a:ext cx="596" cy="5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Title Text"/>
          <p:cNvSpPr txBox="1">
            <a:spLocks noGrp="1"/>
          </p:cNvSpPr>
          <p:nvPr>
            <p:ph type="title"/>
          </p:nvPr>
        </p:nvSpPr>
        <p:spPr>
          <a:xfrm>
            <a:off x="385763" y="390969"/>
            <a:ext cx="8373071" cy="65261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248"/>
            </a:lvl1pPr>
          </a:lstStyle>
          <a:p>
            <a:r>
              <a:t>Title Text</a:t>
            </a:r>
          </a:p>
        </p:txBody>
      </p:sp>
      <p:sp>
        <p:nvSpPr>
          <p:cNvPr id="12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776390" y="4841890"/>
            <a:ext cx="256322" cy="253914"/>
          </a:xfrm>
          <a:prstGeom prst="rect">
            <a:avLst/>
          </a:prstGeom>
        </p:spPr>
        <p:txBody>
          <a:bodyPr/>
          <a:lstStyle>
            <a:lvl1pPr>
              <a:defRPr sz="749">
                <a:solidFill>
                  <a:srgbClr val="004C97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26" name="Image" descr="Image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8771" y="13240"/>
            <a:ext cx="1221374" cy="281891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Straight Connector 12">
            <a:extLst>
              <a:ext uri="{FF2B5EF4-FFF2-40B4-BE49-F238E27FC236}">
                <a16:creationId xmlns:a16="http://schemas.microsoft.com/office/drawing/2014/main" id="{C3E1125A-BEDB-4A33-A3DB-F49DB634F727}"/>
              </a:ext>
            </a:extLst>
          </p:cNvPr>
          <p:cNvSpPr/>
          <p:nvPr userDrawn="1"/>
        </p:nvSpPr>
        <p:spPr>
          <a:xfrm>
            <a:off x="378310" y="1043583"/>
            <a:ext cx="1134455" cy="0"/>
          </a:xfrm>
          <a:prstGeom prst="line">
            <a:avLst/>
          </a:prstGeom>
          <a:ln w="152400">
            <a:solidFill>
              <a:srgbClr val="004C97"/>
            </a:solidFill>
            <a:miter/>
          </a:ln>
        </p:spPr>
        <p:txBody>
          <a:bodyPr tIns="34259" bIns="34259"/>
          <a:lstStyle/>
          <a:p>
            <a:endParaRPr sz="674"/>
          </a:p>
        </p:txBody>
      </p:sp>
    </p:spTree>
    <p:extLst>
      <p:ext uri="{BB962C8B-B14F-4D97-AF65-F5344CB8AC3E}">
        <p14:creationId xmlns:p14="http://schemas.microsoft.com/office/powerpoint/2010/main" val="4075458277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1_Blank"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Google Shape;115;p11"/>
          <p:cNvSpPr/>
          <p:nvPr/>
        </p:nvSpPr>
        <p:spPr>
          <a:xfrm flipH="1">
            <a:off x="8733107" y="3512673"/>
            <a:ext cx="359208" cy="1630800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21600" y="21600"/>
                </a:moveTo>
                <a:lnTo>
                  <a:pt x="21600" y="0"/>
                </a:lnTo>
                <a:lnTo>
                  <a:pt x="0" y="863"/>
                </a:ln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" name="Google Shape;116;p11"/>
          <p:cNvSpPr txBox="1">
            <a:spLocks noGrp="1"/>
          </p:cNvSpPr>
          <p:nvPr>
            <p:ph type="sldNum" idx="12"/>
          </p:nvPr>
        </p:nvSpPr>
        <p:spPr>
          <a:xfrm>
            <a:off x="8733095" y="4688650"/>
            <a:ext cx="359100" cy="454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  <p:sp>
        <p:nvSpPr>
          <p:cNvPr id="117" name="Google Shape;117;p11"/>
          <p:cNvSpPr/>
          <p:nvPr/>
        </p:nvSpPr>
        <p:spPr>
          <a:xfrm flipH="1">
            <a:off x="8733107" y="977835"/>
            <a:ext cx="359208" cy="963846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21600"/>
                </a:moveTo>
                <a:lnTo>
                  <a:pt x="21600" y="20140"/>
                </a:lnTo>
                <a:lnTo>
                  <a:pt x="21600" y="0"/>
                </a:lnTo>
                <a:lnTo>
                  <a:pt x="0" y="1460"/>
                </a:lnTo>
                <a:lnTo>
                  <a:pt x="0" y="2160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" name="Google Shape;118;p11"/>
          <p:cNvSpPr/>
          <p:nvPr/>
        </p:nvSpPr>
        <p:spPr>
          <a:xfrm flipH="1">
            <a:off x="8733107" y="0"/>
            <a:ext cx="359208" cy="954126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0125"/>
                </a:lnTo>
                <a:lnTo>
                  <a:pt x="2160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" name="Google Shape;119;p11"/>
          <p:cNvSpPr/>
          <p:nvPr/>
        </p:nvSpPr>
        <p:spPr>
          <a:xfrm flipH="1">
            <a:off x="8073822" y="456628"/>
            <a:ext cx="568512" cy="711612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21600"/>
                </a:moveTo>
                <a:lnTo>
                  <a:pt x="21600" y="18470"/>
                </a:lnTo>
                <a:lnTo>
                  <a:pt x="21600" y="0"/>
                </a:lnTo>
                <a:lnTo>
                  <a:pt x="0" y="3130"/>
                </a:lnTo>
                <a:lnTo>
                  <a:pt x="0" y="216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" name="Google Shape;120;p11"/>
          <p:cNvSpPr/>
          <p:nvPr/>
        </p:nvSpPr>
        <p:spPr>
          <a:xfrm flipH="1">
            <a:off x="8073822" y="4574472"/>
            <a:ext cx="568512" cy="569052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3912"/>
                </a:lnTo>
                <a:lnTo>
                  <a:pt x="0" y="216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" name="Google Shape;121;p11"/>
          <p:cNvSpPr/>
          <p:nvPr/>
        </p:nvSpPr>
        <p:spPr>
          <a:xfrm flipH="1">
            <a:off x="8073822" y="1158238"/>
            <a:ext cx="568512" cy="3426246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21600" y="0"/>
                </a:moveTo>
                <a:lnTo>
                  <a:pt x="0" y="650"/>
                </a:lnTo>
                <a:lnTo>
                  <a:pt x="0" y="21600"/>
                </a:lnTo>
                <a:lnTo>
                  <a:pt x="21600" y="20950"/>
                </a:lnTo>
                <a:lnTo>
                  <a:pt x="2160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145728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45494-8E9E-41D7-A2BF-51F027D24E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F69DD49-1A4B-4895-A722-68395F6CA4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E119D7-1AA7-4806-BF8B-8C254F8931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EAD33-8E2C-4738-82B0-A3A1E433313C}" type="datetimeFigureOut">
              <a:rPr lang="en-US" smtClean="0"/>
              <a:t>04/04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9457ED-FFE9-425B-91EF-E76BA1A841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FEE6A-4432-4185-A664-2B6AF922C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6348D-4A9A-457C-8612-E45CDFF6AEB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9162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04553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995" y="283627"/>
            <a:ext cx="8228012" cy="282905"/>
          </a:xfrm>
          <a:prstGeom prst="rect">
            <a:avLst/>
          </a:prstGeom>
        </p:spPr>
        <p:txBody>
          <a:bodyPr lIns="0" rIns="0" anchor="ctr" anchorCtr="0"/>
          <a:lstStyle>
            <a:lvl1pPr>
              <a:defRPr sz="1950" baseline="0">
                <a:solidFill>
                  <a:srgbClr val="0A3F6B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1963" y="1016725"/>
            <a:ext cx="8229600" cy="345765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525"/>
              </a:spcBef>
              <a:buNone/>
              <a:defRPr>
                <a:latin typeface="Arial"/>
                <a:cs typeface="Arial"/>
              </a:defRPr>
            </a:lvl1pPr>
            <a:lvl2pPr marL="157163" indent="0">
              <a:lnSpc>
                <a:spcPct val="110000"/>
              </a:lnSpc>
              <a:spcBef>
                <a:spcPts val="525"/>
              </a:spcBef>
              <a:buNone/>
              <a:defRPr>
                <a:latin typeface="Arial"/>
                <a:cs typeface="Arial"/>
              </a:defRPr>
            </a:lvl2pPr>
            <a:lvl3pPr marL="300038" indent="0">
              <a:lnSpc>
                <a:spcPct val="110000"/>
              </a:lnSpc>
              <a:spcBef>
                <a:spcPts val="375"/>
              </a:spcBef>
              <a:buNone/>
              <a:defRPr sz="1200">
                <a:latin typeface="Arial"/>
                <a:cs typeface="Arial"/>
              </a:defRPr>
            </a:lvl3pPr>
            <a:lvl4pPr marL="446485" indent="0">
              <a:lnSpc>
                <a:spcPct val="110000"/>
              </a:lnSpc>
              <a:spcBef>
                <a:spcPts val="375"/>
              </a:spcBef>
              <a:buFont typeface="Lucida Grande"/>
              <a:buNone/>
              <a:defRPr sz="1050">
                <a:latin typeface="Arial"/>
                <a:cs typeface="Arial"/>
              </a:defRPr>
            </a:lvl4pPr>
            <a:lvl5pPr marL="592931" indent="0">
              <a:lnSpc>
                <a:spcPct val="110000"/>
              </a:lnSpc>
              <a:spcBef>
                <a:spcPts val="375"/>
              </a:spcBef>
              <a:buNone/>
              <a:defRPr sz="1050"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nter text</a:t>
            </a:r>
          </a:p>
        </p:txBody>
      </p:sp>
    </p:spTree>
    <p:extLst>
      <p:ext uri="{BB962C8B-B14F-4D97-AF65-F5344CB8AC3E}">
        <p14:creationId xmlns:p14="http://schemas.microsoft.com/office/powerpoint/2010/main" val="38821598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CBB570-284F-4638-8AF2-02270EDCDA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231" y="107389"/>
            <a:ext cx="7886700" cy="598388"/>
          </a:xfrm>
          <a:prstGeom prst="rect">
            <a:avLst/>
          </a:prstGeom>
        </p:spPr>
        <p:txBody>
          <a:bodyPr/>
          <a:lstStyle>
            <a:lvl1pPr marL="0" marR="0" indent="0" algn="l" defTabSz="68581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400" b="1" kern="12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68581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83360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90106" y="4248042"/>
            <a:ext cx="8163792" cy="589331"/>
          </a:xfrm>
        </p:spPr>
        <p:txBody>
          <a:bodyPr bIns="0"/>
          <a:lstStyle>
            <a:lvl1pPr marL="0" indent="0" algn="ctr">
              <a:lnSpc>
                <a:spcPct val="90000"/>
              </a:lnSpc>
              <a:spcBef>
                <a:spcPct val="10000"/>
              </a:spcBef>
              <a:buFontTx/>
              <a:buNone/>
              <a:defRPr lang="en-US" sz="1199" b="1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90106" y="3691127"/>
            <a:ext cx="8163792" cy="556913"/>
          </a:xfrm>
        </p:spPr>
        <p:txBody>
          <a:bodyPr lIns="91440" anchor="b" anchorCtr="0"/>
          <a:lstStyle>
            <a:lvl1pPr algn="ctr">
              <a:defRPr lang="en-US" sz="2198" b="1" kern="1200" noProof="0" dirty="0" smtClean="0">
                <a:solidFill>
                  <a:schemeClr val="bg1"/>
                </a:solidFill>
                <a:latin typeface="+mj-lt"/>
                <a:ea typeface="MS PGothic" pitchFamily="34" charset="-128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pic>
        <p:nvPicPr>
          <p:cNvPr id="1074" name="Picture 50" descr="C:\Users\Vostro 3500 Alpha\Desktop\Possibilities\Graphics\Template\PepsiCo-white.e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609" y="161583"/>
            <a:ext cx="1235477" cy="285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/>
          <p:cNvGrpSpPr/>
          <p:nvPr userDrawn="1"/>
        </p:nvGrpSpPr>
        <p:grpSpPr>
          <a:xfrm>
            <a:off x="1794044" y="1015059"/>
            <a:ext cx="5861051" cy="2109423"/>
            <a:chOff x="1794043" y="1015999"/>
            <a:chExt cx="5861051" cy="211137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0" name="Oval 8"/>
            <p:cNvSpPr>
              <a:spLocks noChangeArrowheads="1"/>
            </p:cNvSpPr>
            <p:nvPr userDrawn="1"/>
          </p:nvSpPr>
          <p:spPr bwMode="auto">
            <a:xfrm>
              <a:off x="4281656" y="1322387"/>
              <a:ext cx="90488" cy="92075"/>
            </a:xfrm>
            <a:prstGeom prst="ellipse">
              <a:avLst/>
            </a:prstGeom>
            <a:solidFill>
              <a:srgbClr val="69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1" name="Freeform 9"/>
            <p:cNvSpPr>
              <a:spLocks/>
            </p:cNvSpPr>
            <p:nvPr userDrawn="1"/>
          </p:nvSpPr>
          <p:spPr bwMode="auto">
            <a:xfrm>
              <a:off x="4227681" y="1422399"/>
              <a:ext cx="196850" cy="381000"/>
            </a:xfrm>
            <a:custGeom>
              <a:avLst/>
              <a:gdLst>
                <a:gd name="T0" fmla="*/ 157 w 157"/>
                <a:gd name="T1" fmla="*/ 41 h 305"/>
                <a:gd name="T2" fmla="*/ 114 w 157"/>
                <a:gd name="T3" fmla="*/ 0 h 305"/>
                <a:gd name="T4" fmla="*/ 43 w 157"/>
                <a:gd name="T5" fmla="*/ 0 h 305"/>
                <a:gd name="T6" fmla="*/ 0 w 157"/>
                <a:gd name="T7" fmla="*/ 41 h 305"/>
                <a:gd name="T8" fmla="*/ 0 w 157"/>
                <a:gd name="T9" fmla="*/ 41 h 305"/>
                <a:gd name="T10" fmla="*/ 0 w 157"/>
                <a:gd name="T11" fmla="*/ 128 h 305"/>
                <a:gd name="T12" fmla="*/ 13 w 157"/>
                <a:gd name="T13" fmla="*/ 141 h 305"/>
                <a:gd name="T14" fmla="*/ 25 w 157"/>
                <a:gd name="T15" fmla="*/ 128 h 305"/>
                <a:gd name="T16" fmla="*/ 25 w 157"/>
                <a:gd name="T17" fmla="*/ 44 h 305"/>
                <a:gd name="T18" fmla="*/ 38 w 157"/>
                <a:gd name="T19" fmla="*/ 44 h 305"/>
                <a:gd name="T20" fmla="*/ 38 w 157"/>
                <a:gd name="T21" fmla="*/ 132 h 305"/>
                <a:gd name="T22" fmla="*/ 38 w 157"/>
                <a:gd name="T23" fmla="*/ 145 h 305"/>
                <a:gd name="T24" fmla="*/ 38 w 157"/>
                <a:gd name="T25" fmla="*/ 286 h 305"/>
                <a:gd name="T26" fmla="*/ 54 w 157"/>
                <a:gd name="T27" fmla="*/ 305 h 305"/>
                <a:gd name="T28" fmla="*/ 71 w 157"/>
                <a:gd name="T29" fmla="*/ 286 h 305"/>
                <a:gd name="T30" fmla="*/ 71 w 157"/>
                <a:gd name="T31" fmla="*/ 145 h 305"/>
                <a:gd name="T32" fmla="*/ 87 w 157"/>
                <a:gd name="T33" fmla="*/ 145 h 305"/>
                <a:gd name="T34" fmla="*/ 87 w 157"/>
                <a:gd name="T35" fmla="*/ 286 h 305"/>
                <a:gd name="T36" fmla="*/ 104 w 157"/>
                <a:gd name="T37" fmla="*/ 305 h 305"/>
                <a:gd name="T38" fmla="*/ 120 w 157"/>
                <a:gd name="T39" fmla="*/ 286 h 305"/>
                <a:gd name="T40" fmla="*/ 120 w 157"/>
                <a:gd name="T41" fmla="*/ 145 h 305"/>
                <a:gd name="T42" fmla="*/ 120 w 157"/>
                <a:gd name="T43" fmla="*/ 132 h 305"/>
                <a:gd name="T44" fmla="*/ 120 w 157"/>
                <a:gd name="T45" fmla="*/ 44 h 305"/>
                <a:gd name="T46" fmla="*/ 133 w 157"/>
                <a:gd name="T47" fmla="*/ 44 h 305"/>
                <a:gd name="T48" fmla="*/ 133 w 157"/>
                <a:gd name="T49" fmla="*/ 128 h 305"/>
                <a:gd name="T50" fmla="*/ 145 w 157"/>
                <a:gd name="T51" fmla="*/ 141 h 305"/>
                <a:gd name="T52" fmla="*/ 157 w 157"/>
                <a:gd name="T53" fmla="*/ 128 h 305"/>
                <a:gd name="T54" fmla="*/ 157 w 157"/>
                <a:gd name="T55" fmla="*/ 41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57" h="305">
                  <a:moveTo>
                    <a:pt x="157" y="41"/>
                  </a:moveTo>
                  <a:cubicBezTo>
                    <a:pt x="157" y="18"/>
                    <a:pt x="138" y="0"/>
                    <a:pt x="11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20" y="0"/>
                    <a:pt x="1" y="18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5"/>
                    <a:pt x="6" y="141"/>
                    <a:pt x="13" y="141"/>
                  </a:cubicBezTo>
                  <a:cubicBezTo>
                    <a:pt x="20" y="141"/>
                    <a:pt x="25" y="135"/>
                    <a:pt x="25" y="128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45"/>
                    <a:pt x="38" y="145"/>
                    <a:pt x="38" y="145"/>
                  </a:cubicBezTo>
                  <a:cubicBezTo>
                    <a:pt x="38" y="286"/>
                    <a:pt x="38" y="286"/>
                    <a:pt x="38" y="286"/>
                  </a:cubicBezTo>
                  <a:cubicBezTo>
                    <a:pt x="38" y="297"/>
                    <a:pt x="45" y="305"/>
                    <a:pt x="54" y="305"/>
                  </a:cubicBezTo>
                  <a:cubicBezTo>
                    <a:pt x="64" y="305"/>
                    <a:pt x="71" y="297"/>
                    <a:pt x="71" y="286"/>
                  </a:cubicBezTo>
                  <a:cubicBezTo>
                    <a:pt x="71" y="145"/>
                    <a:pt x="71" y="145"/>
                    <a:pt x="71" y="145"/>
                  </a:cubicBezTo>
                  <a:cubicBezTo>
                    <a:pt x="87" y="145"/>
                    <a:pt x="87" y="145"/>
                    <a:pt x="87" y="145"/>
                  </a:cubicBezTo>
                  <a:cubicBezTo>
                    <a:pt x="87" y="286"/>
                    <a:pt x="87" y="286"/>
                    <a:pt x="87" y="286"/>
                  </a:cubicBezTo>
                  <a:cubicBezTo>
                    <a:pt x="87" y="297"/>
                    <a:pt x="94" y="305"/>
                    <a:pt x="104" y="305"/>
                  </a:cubicBezTo>
                  <a:cubicBezTo>
                    <a:pt x="113" y="305"/>
                    <a:pt x="120" y="297"/>
                    <a:pt x="120" y="286"/>
                  </a:cubicBezTo>
                  <a:cubicBezTo>
                    <a:pt x="120" y="145"/>
                    <a:pt x="120" y="145"/>
                    <a:pt x="120" y="145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33" y="44"/>
                    <a:pt x="133" y="44"/>
                    <a:pt x="133" y="44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33" y="135"/>
                    <a:pt x="138" y="141"/>
                    <a:pt x="145" y="141"/>
                  </a:cubicBezTo>
                  <a:cubicBezTo>
                    <a:pt x="152" y="141"/>
                    <a:pt x="157" y="135"/>
                    <a:pt x="157" y="128"/>
                  </a:cubicBezTo>
                  <a:cubicBezTo>
                    <a:pt x="157" y="41"/>
                    <a:pt x="157" y="41"/>
                    <a:pt x="157" y="41"/>
                  </a:cubicBezTo>
                  <a:close/>
                </a:path>
              </a:pathLst>
            </a:custGeom>
            <a:solidFill>
              <a:srgbClr val="69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2" name="Freeform 10"/>
            <p:cNvSpPr>
              <a:spLocks/>
            </p:cNvSpPr>
            <p:nvPr userDrawn="1"/>
          </p:nvSpPr>
          <p:spPr bwMode="auto">
            <a:xfrm>
              <a:off x="4434056" y="1417637"/>
              <a:ext cx="211138" cy="387350"/>
            </a:xfrm>
            <a:custGeom>
              <a:avLst/>
              <a:gdLst>
                <a:gd name="T0" fmla="*/ 168 w 169"/>
                <a:gd name="T1" fmla="*/ 137 h 309"/>
                <a:gd name="T2" fmla="*/ 155 w 169"/>
                <a:gd name="T3" fmla="*/ 41 h 309"/>
                <a:gd name="T4" fmla="*/ 155 w 169"/>
                <a:gd name="T5" fmla="*/ 41 h 309"/>
                <a:gd name="T6" fmla="*/ 154 w 169"/>
                <a:gd name="T7" fmla="*/ 38 h 309"/>
                <a:gd name="T8" fmla="*/ 154 w 169"/>
                <a:gd name="T9" fmla="*/ 36 h 309"/>
                <a:gd name="T10" fmla="*/ 152 w 169"/>
                <a:gd name="T11" fmla="*/ 26 h 309"/>
                <a:gd name="T12" fmla="*/ 152 w 169"/>
                <a:gd name="T13" fmla="*/ 26 h 309"/>
                <a:gd name="T14" fmla="*/ 152 w 169"/>
                <a:gd name="T15" fmla="*/ 26 h 309"/>
                <a:gd name="T16" fmla="*/ 118 w 169"/>
                <a:gd name="T17" fmla="*/ 0 h 309"/>
                <a:gd name="T18" fmla="*/ 50 w 169"/>
                <a:gd name="T19" fmla="*/ 0 h 309"/>
                <a:gd name="T20" fmla="*/ 16 w 169"/>
                <a:gd name="T21" fmla="*/ 26 h 309"/>
                <a:gd name="T22" fmla="*/ 16 w 169"/>
                <a:gd name="T23" fmla="*/ 26 h 309"/>
                <a:gd name="T24" fmla="*/ 16 w 169"/>
                <a:gd name="T25" fmla="*/ 26 h 309"/>
                <a:gd name="T26" fmla="*/ 15 w 169"/>
                <a:gd name="T27" fmla="*/ 36 h 309"/>
                <a:gd name="T28" fmla="*/ 15 w 169"/>
                <a:gd name="T29" fmla="*/ 38 h 309"/>
                <a:gd name="T30" fmla="*/ 14 w 169"/>
                <a:gd name="T31" fmla="*/ 41 h 309"/>
                <a:gd name="T32" fmla="*/ 14 w 169"/>
                <a:gd name="T33" fmla="*/ 41 h 309"/>
                <a:gd name="T34" fmla="*/ 1 w 169"/>
                <a:gd name="T35" fmla="*/ 137 h 309"/>
                <a:gd name="T36" fmla="*/ 11 w 169"/>
                <a:gd name="T37" fmla="*/ 150 h 309"/>
                <a:gd name="T38" fmla="*/ 24 w 169"/>
                <a:gd name="T39" fmla="*/ 140 h 309"/>
                <a:gd name="T40" fmla="*/ 38 w 169"/>
                <a:gd name="T41" fmla="*/ 42 h 309"/>
                <a:gd name="T42" fmla="*/ 49 w 169"/>
                <a:gd name="T43" fmla="*/ 42 h 309"/>
                <a:gd name="T44" fmla="*/ 31 w 169"/>
                <a:gd name="T45" fmla="*/ 179 h 309"/>
                <a:gd name="T46" fmla="*/ 45 w 169"/>
                <a:gd name="T47" fmla="*/ 179 h 309"/>
                <a:gd name="T48" fmla="*/ 45 w 169"/>
                <a:gd name="T49" fmla="*/ 291 h 309"/>
                <a:gd name="T50" fmla="*/ 61 w 169"/>
                <a:gd name="T51" fmla="*/ 309 h 309"/>
                <a:gd name="T52" fmla="*/ 61 w 169"/>
                <a:gd name="T53" fmla="*/ 309 h 309"/>
                <a:gd name="T54" fmla="*/ 61 w 169"/>
                <a:gd name="T55" fmla="*/ 309 h 309"/>
                <a:gd name="T56" fmla="*/ 77 w 169"/>
                <a:gd name="T57" fmla="*/ 291 h 309"/>
                <a:gd name="T58" fmla="*/ 77 w 169"/>
                <a:gd name="T59" fmla="*/ 179 h 309"/>
                <a:gd name="T60" fmla="*/ 92 w 169"/>
                <a:gd name="T61" fmla="*/ 179 h 309"/>
                <a:gd name="T62" fmla="*/ 92 w 169"/>
                <a:gd name="T63" fmla="*/ 291 h 309"/>
                <a:gd name="T64" fmla="*/ 108 w 169"/>
                <a:gd name="T65" fmla="*/ 309 h 309"/>
                <a:gd name="T66" fmla="*/ 108 w 169"/>
                <a:gd name="T67" fmla="*/ 309 h 309"/>
                <a:gd name="T68" fmla="*/ 108 w 169"/>
                <a:gd name="T69" fmla="*/ 309 h 309"/>
                <a:gd name="T70" fmla="*/ 124 w 169"/>
                <a:gd name="T71" fmla="*/ 291 h 309"/>
                <a:gd name="T72" fmla="*/ 124 w 169"/>
                <a:gd name="T73" fmla="*/ 179 h 309"/>
                <a:gd name="T74" fmla="*/ 138 w 169"/>
                <a:gd name="T75" fmla="*/ 179 h 309"/>
                <a:gd name="T76" fmla="*/ 120 w 169"/>
                <a:gd name="T77" fmla="*/ 43 h 309"/>
                <a:gd name="T78" fmla="*/ 120 w 169"/>
                <a:gd name="T79" fmla="*/ 42 h 309"/>
                <a:gd name="T80" fmla="*/ 131 w 169"/>
                <a:gd name="T81" fmla="*/ 42 h 309"/>
                <a:gd name="T82" fmla="*/ 145 w 169"/>
                <a:gd name="T83" fmla="*/ 140 h 309"/>
                <a:gd name="T84" fmla="*/ 158 w 169"/>
                <a:gd name="T85" fmla="*/ 150 h 309"/>
                <a:gd name="T86" fmla="*/ 168 w 169"/>
                <a:gd name="T87" fmla="*/ 1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9" h="309">
                  <a:moveTo>
                    <a:pt x="168" y="137"/>
                  </a:moveTo>
                  <a:cubicBezTo>
                    <a:pt x="155" y="41"/>
                    <a:pt x="155" y="41"/>
                    <a:pt x="155" y="41"/>
                  </a:cubicBezTo>
                  <a:cubicBezTo>
                    <a:pt x="155" y="41"/>
                    <a:pt x="155" y="41"/>
                    <a:pt x="155" y="41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6"/>
                    <a:pt x="154" y="36"/>
                    <a:pt x="154" y="36"/>
                  </a:cubicBezTo>
                  <a:cubicBezTo>
                    <a:pt x="154" y="33"/>
                    <a:pt x="153" y="29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48" y="11"/>
                    <a:pt x="135" y="1"/>
                    <a:pt x="118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4" y="1"/>
                    <a:pt x="21" y="11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9"/>
                    <a:pt x="15" y="33"/>
                    <a:pt x="15" y="36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43"/>
                    <a:pt x="4" y="149"/>
                    <a:pt x="11" y="150"/>
                  </a:cubicBezTo>
                  <a:cubicBezTo>
                    <a:pt x="17" y="151"/>
                    <a:pt x="23" y="147"/>
                    <a:pt x="24" y="140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31" y="179"/>
                    <a:pt x="31" y="179"/>
                    <a:pt x="3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45" y="301"/>
                    <a:pt x="52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70" y="309"/>
                    <a:pt x="77" y="301"/>
                    <a:pt x="77" y="291"/>
                  </a:cubicBezTo>
                  <a:cubicBezTo>
                    <a:pt x="77" y="179"/>
                    <a:pt x="77" y="179"/>
                    <a:pt x="77" y="179"/>
                  </a:cubicBezTo>
                  <a:cubicBezTo>
                    <a:pt x="92" y="179"/>
                    <a:pt x="92" y="179"/>
                    <a:pt x="92" y="179"/>
                  </a:cubicBezTo>
                  <a:cubicBezTo>
                    <a:pt x="92" y="291"/>
                    <a:pt x="92" y="291"/>
                    <a:pt x="92" y="291"/>
                  </a:cubicBezTo>
                  <a:cubicBezTo>
                    <a:pt x="92" y="301"/>
                    <a:pt x="99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17" y="309"/>
                    <a:pt x="124" y="301"/>
                    <a:pt x="124" y="291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38" y="179"/>
                    <a:pt x="138" y="179"/>
                    <a:pt x="138" y="179"/>
                  </a:cubicBezTo>
                  <a:cubicBezTo>
                    <a:pt x="120" y="43"/>
                    <a:pt x="120" y="43"/>
                    <a:pt x="120" y="43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7"/>
                    <a:pt x="152" y="151"/>
                    <a:pt x="158" y="150"/>
                  </a:cubicBezTo>
                  <a:cubicBezTo>
                    <a:pt x="164" y="149"/>
                    <a:pt x="169" y="143"/>
                    <a:pt x="168" y="137"/>
                  </a:cubicBezTo>
                </a:path>
              </a:pathLst>
            </a:custGeom>
            <a:solidFill>
              <a:srgbClr val="AC29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3" name="Freeform 11"/>
            <p:cNvSpPr>
              <a:spLocks/>
            </p:cNvSpPr>
            <p:nvPr userDrawn="1"/>
          </p:nvSpPr>
          <p:spPr bwMode="auto">
            <a:xfrm>
              <a:off x="4497556" y="1322387"/>
              <a:ext cx="85725" cy="88900"/>
            </a:xfrm>
            <a:custGeom>
              <a:avLst/>
              <a:gdLst>
                <a:gd name="T0" fmla="*/ 34 w 69"/>
                <a:gd name="T1" fmla="*/ 70 h 70"/>
                <a:gd name="T2" fmla="*/ 34 w 69"/>
                <a:gd name="T3" fmla="*/ 70 h 70"/>
                <a:gd name="T4" fmla="*/ 34 w 69"/>
                <a:gd name="T5" fmla="*/ 70 h 70"/>
                <a:gd name="T6" fmla="*/ 69 w 69"/>
                <a:gd name="T7" fmla="*/ 35 h 70"/>
                <a:gd name="T8" fmla="*/ 34 w 69"/>
                <a:gd name="T9" fmla="*/ 0 h 70"/>
                <a:gd name="T10" fmla="*/ 34 w 69"/>
                <a:gd name="T11" fmla="*/ 0 h 70"/>
                <a:gd name="T12" fmla="*/ 34 w 69"/>
                <a:gd name="T13" fmla="*/ 0 h 70"/>
                <a:gd name="T14" fmla="*/ 0 w 69"/>
                <a:gd name="T15" fmla="*/ 35 h 70"/>
                <a:gd name="T16" fmla="*/ 34 w 69"/>
                <a:gd name="T1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70">
                  <a:moveTo>
                    <a:pt x="34" y="70"/>
                  </a:moveTo>
                  <a:cubicBezTo>
                    <a:pt x="34" y="70"/>
                    <a:pt x="34" y="70"/>
                    <a:pt x="34" y="70"/>
                  </a:cubicBezTo>
                  <a:cubicBezTo>
                    <a:pt x="34" y="70"/>
                    <a:pt x="34" y="70"/>
                    <a:pt x="34" y="70"/>
                  </a:cubicBezTo>
                  <a:cubicBezTo>
                    <a:pt x="54" y="70"/>
                    <a:pt x="69" y="54"/>
                    <a:pt x="69" y="35"/>
                  </a:cubicBezTo>
                  <a:cubicBezTo>
                    <a:pt x="69" y="16"/>
                    <a:pt x="5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4"/>
                    <a:pt x="15" y="70"/>
                    <a:pt x="34" y="70"/>
                  </a:cubicBezTo>
                </a:path>
              </a:pathLst>
            </a:custGeom>
            <a:solidFill>
              <a:srgbClr val="AC29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4" name="Freeform 12"/>
            <p:cNvSpPr>
              <a:spLocks/>
            </p:cNvSpPr>
            <p:nvPr userDrawn="1"/>
          </p:nvSpPr>
          <p:spPr bwMode="auto">
            <a:xfrm>
              <a:off x="4008606" y="1417637"/>
              <a:ext cx="211138" cy="387350"/>
            </a:xfrm>
            <a:custGeom>
              <a:avLst/>
              <a:gdLst>
                <a:gd name="T0" fmla="*/ 168 w 169"/>
                <a:gd name="T1" fmla="*/ 137 h 309"/>
                <a:gd name="T2" fmla="*/ 155 w 169"/>
                <a:gd name="T3" fmla="*/ 41 h 309"/>
                <a:gd name="T4" fmla="*/ 155 w 169"/>
                <a:gd name="T5" fmla="*/ 41 h 309"/>
                <a:gd name="T6" fmla="*/ 154 w 169"/>
                <a:gd name="T7" fmla="*/ 38 h 309"/>
                <a:gd name="T8" fmla="*/ 154 w 169"/>
                <a:gd name="T9" fmla="*/ 36 h 309"/>
                <a:gd name="T10" fmla="*/ 153 w 169"/>
                <a:gd name="T11" fmla="*/ 26 h 309"/>
                <a:gd name="T12" fmla="*/ 152 w 169"/>
                <a:gd name="T13" fmla="*/ 26 h 309"/>
                <a:gd name="T14" fmla="*/ 152 w 169"/>
                <a:gd name="T15" fmla="*/ 26 h 309"/>
                <a:gd name="T16" fmla="*/ 119 w 169"/>
                <a:gd name="T17" fmla="*/ 0 h 309"/>
                <a:gd name="T18" fmla="*/ 50 w 169"/>
                <a:gd name="T19" fmla="*/ 0 h 309"/>
                <a:gd name="T20" fmla="*/ 16 w 169"/>
                <a:gd name="T21" fmla="*/ 26 h 309"/>
                <a:gd name="T22" fmla="*/ 16 w 169"/>
                <a:gd name="T23" fmla="*/ 26 h 309"/>
                <a:gd name="T24" fmla="*/ 16 w 169"/>
                <a:gd name="T25" fmla="*/ 26 h 309"/>
                <a:gd name="T26" fmla="*/ 15 w 169"/>
                <a:gd name="T27" fmla="*/ 36 h 309"/>
                <a:gd name="T28" fmla="*/ 15 w 169"/>
                <a:gd name="T29" fmla="*/ 38 h 309"/>
                <a:gd name="T30" fmla="*/ 14 w 169"/>
                <a:gd name="T31" fmla="*/ 41 h 309"/>
                <a:gd name="T32" fmla="*/ 14 w 169"/>
                <a:gd name="T33" fmla="*/ 41 h 309"/>
                <a:gd name="T34" fmla="*/ 1 w 169"/>
                <a:gd name="T35" fmla="*/ 137 h 309"/>
                <a:gd name="T36" fmla="*/ 11 w 169"/>
                <a:gd name="T37" fmla="*/ 150 h 309"/>
                <a:gd name="T38" fmla="*/ 24 w 169"/>
                <a:gd name="T39" fmla="*/ 140 h 309"/>
                <a:gd name="T40" fmla="*/ 38 w 169"/>
                <a:gd name="T41" fmla="*/ 42 h 309"/>
                <a:gd name="T42" fmla="*/ 49 w 169"/>
                <a:gd name="T43" fmla="*/ 42 h 309"/>
                <a:gd name="T44" fmla="*/ 31 w 169"/>
                <a:gd name="T45" fmla="*/ 179 h 309"/>
                <a:gd name="T46" fmla="*/ 45 w 169"/>
                <a:gd name="T47" fmla="*/ 179 h 309"/>
                <a:gd name="T48" fmla="*/ 45 w 169"/>
                <a:gd name="T49" fmla="*/ 291 h 309"/>
                <a:gd name="T50" fmla="*/ 61 w 169"/>
                <a:gd name="T51" fmla="*/ 309 h 309"/>
                <a:gd name="T52" fmla="*/ 61 w 169"/>
                <a:gd name="T53" fmla="*/ 309 h 309"/>
                <a:gd name="T54" fmla="*/ 61 w 169"/>
                <a:gd name="T55" fmla="*/ 309 h 309"/>
                <a:gd name="T56" fmla="*/ 77 w 169"/>
                <a:gd name="T57" fmla="*/ 291 h 309"/>
                <a:gd name="T58" fmla="*/ 77 w 169"/>
                <a:gd name="T59" fmla="*/ 179 h 309"/>
                <a:gd name="T60" fmla="*/ 92 w 169"/>
                <a:gd name="T61" fmla="*/ 179 h 309"/>
                <a:gd name="T62" fmla="*/ 92 w 169"/>
                <a:gd name="T63" fmla="*/ 291 h 309"/>
                <a:gd name="T64" fmla="*/ 108 w 169"/>
                <a:gd name="T65" fmla="*/ 309 h 309"/>
                <a:gd name="T66" fmla="*/ 108 w 169"/>
                <a:gd name="T67" fmla="*/ 309 h 309"/>
                <a:gd name="T68" fmla="*/ 108 w 169"/>
                <a:gd name="T69" fmla="*/ 309 h 309"/>
                <a:gd name="T70" fmla="*/ 124 w 169"/>
                <a:gd name="T71" fmla="*/ 291 h 309"/>
                <a:gd name="T72" fmla="*/ 124 w 169"/>
                <a:gd name="T73" fmla="*/ 179 h 309"/>
                <a:gd name="T74" fmla="*/ 138 w 169"/>
                <a:gd name="T75" fmla="*/ 179 h 309"/>
                <a:gd name="T76" fmla="*/ 120 w 169"/>
                <a:gd name="T77" fmla="*/ 43 h 309"/>
                <a:gd name="T78" fmla="*/ 120 w 169"/>
                <a:gd name="T79" fmla="*/ 42 h 309"/>
                <a:gd name="T80" fmla="*/ 131 w 169"/>
                <a:gd name="T81" fmla="*/ 42 h 309"/>
                <a:gd name="T82" fmla="*/ 145 w 169"/>
                <a:gd name="T83" fmla="*/ 140 h 309"/>
                <a:gd name="T84" fmla="*/ 158 w 169"/>
                <a:gd name="T85" fmla="*/ 150 h 309"/>
                <a:gd name="T86" fmla="*/ 168 w 169"/>
                <a:gd name="T87" fmla="*/ 1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9" h="309">
                  <a:moveTo>
                    <a:pt x="168" y="137"/>
                  </a:moveTo>
                  <a:cubicBezTo>
                    <a:pt x="155" y="41"/>
                    <a:pt x="155" y="41"/>
                    <a:pt x="155" y="41"/>
                  </a:cubicBezTo>
                  <a:cubicBezTo>
                    <a:pt x="155" y="41"/>
                    <a:pt x="155" y="41"/>
                    <a:pt x="155" y="41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6"/>
                    <a:pt x="154" y="36"/>
                    <a:pt x="154" y="36"/>
                  </a:cubicBezTo>
                  <a:cubicBezTo>
                    <a:pt x="154" y="33"/>
                    <a:pt x="153" y="29"/>
                    <a:pt x="153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48" y="11"/>
                    <a:pt x="135" y="1"/>
                    <a:pt x="119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4" y="1"/>
                    <a:pt x="21" y="11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9"/>
                    <a:pt x="15" y="33"/>
                    <a:pt x="15" y="36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43"/>
                    <a:pt x="5" y="149"/>
                    <a:pt x="11" y="150"/>
                  </a:cubicBezTo>
                  <a:cubicBezTo>
                    <a:pt x="17" y="151"/>
                    <a:pt x="23" y="147"/>
                    <a:pt x="24" y="140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31" y="179"/>
                    <a:pt x="31" y="179"/>
                    <a:pt x="3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45" y="301"/>
                    <a:pt x="52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70" y="309"/>
                    <a:pt x="77" y="301"/>
                    <a:pt x="77" y="291"/>
                  </a:cubicBezTo>
                  <a:cubicBezTo>
                    <a:pt x="77" y="179"/>
                    <a:pt x="77" y="179"/>
                    <a:pt x="77" y="179"/>
                  </a:cubicBezTo>
                  <a:cubicBezTo>
                    <a:pt x="92" y="179"/>
                    <a:pt x="92" y="179"/>
                    <a:pt x="92" y="179"/>
                  </a:cubicBezTo>
                  <a:cubicBezTo>
                    <a:pt x="92" y="291"/>
                    <a:pt x="92" y="291"/>
                    <a:pt x="92" y="291"/>
                  </a:cubicBezTo>
                  <a:cubicBezTo>
                    <a:pt x="92" y="301"/>
                    <a:pt x="99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17" y="309"/>
                    <a:pt x="124" y="301"/>
                    <a:pt x="124" y="291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38" y="179"/>
                    <a:pt x="138" y="179"/>
                    <a:pt x="138" y="179"/>
                  </a:cubicBezTo>
                  <a:cubicBezTo>
                    <a:pt x="120" y="43"/>
                    <a:pt x="120" y="43"/>
                    <a:pt x="120" y="43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7"/>
                    <a:pt x="152" y="151"/>
                    <a:pt x="158" y="150"/>
                  </a:cubicBezTo>
                  <a:cubicBezTo>
                    <a:pt x="164" y="149"/>
                    <a:pt x="169" y="143"/>
                    <a:pt x="168" y="137"/>
                  </a:cubicBezTo>
                </a:path>
              </a:pathLst>
            </a:custGeom>
            <a:solidFill>
              <a:srgbClr val="EE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5" name="Freeform 13"/>
            <p:cNvSpPr>
              <a:spLocks/>
            </p:cNvSpPr>
            <p:nvPr userDrawn="1"/>
          </p:nvSpPr>
          <p:spPr bwMode="auto">
            <a:xfrm>
              <a:off x="4070518" y="1322387"/>
              <a:ext cx="85725" cy="88900"/>
            </a:xfrm>
            <a:custGeom>
              <a:avLst/>
              <a:gdLst>
                <a:gd name="T0" fmla="*/ 34 w 69"/>
                <a:gd name="T1" fmla="*/ 70 h 70"/>
                <a:gd name="T2" fmla="*/ 35 w 69"/>
                <a:gd name="T3" fmla="*/ 70 h 70"/>
                <a:gd name="T4" fmla="*/ 35 w 69"/>
                <a:gd name="T5" fmla="*/ 70 h 70"/>
                <a:gd name="T6" fmla="*/ 69 w 69"/>
                <a:gd name="T7" fmla="*/ 35 h 70"/>
                <a:gd name="T8" fmla="*/ 35 w 69"/>
                <a:gd name="T9" fmla="*/ 0 h 70"/>
                <a:gd name="T10" fmla="*/ 35 w 69"/>
                <a:gd name="T11" fmla="*/ 0 h 70"/>
                <a:gd name="T12" fmla="*/ 34 w 69"/>
                <a:gd name="T13" fmla="*/ 0 h 70"/>
                <a:gd name="T14" fmla="*/ 0 w 69"/>
                <a:gd name="T15" fmla="*/ 35 h 70"/>
                <a:gd name="T16" fmla="*/ 34 w 69"/>
                <a:gd name="T1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70">
                  <a:moveTo>
                    <a:pt x="34" y="70"/>
                  </a:moveTo>
                  <a:cubicBezTo>
                    <a:pt x="35" y="70"/>
                    <a:pt x="35" y="70"/>
                    <a:pt x="35" y="70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54" y="70"/>
                    <a:pt x="69" y="54"/>
                    <a:pt x="69" y="35"/>
                  </a:cubicBezTo>
                  <a:cubicBezTo>
                    <a:pt x="69" y="16"/>
                    <a:pt x="54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4"/>
                    <a:pt x="15" y="70"/>
                    <a:pt x="34" y="70"/>
                  </a:cubicBezTo>
                </a:path>
              </a:pathLst>
            </a:custGeom>
            <a:solidFill>
              <a:srgbClr val="EE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6" name="Freeform 14"/>
            <p:cNvSpPr>
              <a:spLocks/>
            </p:cNvSpPr>
            <p:nvPr userDrawn="1"/>
          </p:nvSpPr>
          <p:spPr bwMode="auto">
            <a:xfrm>
              <a:off x="1794043" y="2319337"/>
              <a:ext cx="604838" cy="808038"/>
            </a:xfrm>
            <a:custGeom>
              <a:avLst/>
              <a:gdLst>
                <a:gd name="T0" fmla="*/ 483 w 483"/>
                <a:gd name="T1" fmla="*/ 242 h 646"/>
                <a:gd name="T2" fmla="*/ 242 w 483"/>
                <a:gd name="T3" fmla="*/ 485 h 646"/>
                <a:gd name="T4" fmla="*/ 97 w 483"/>
                <a:gd name="T5" fmla="*/ 436 h 646"/>
                <a:gd name="T6" fmla="*/ 97 w 483"/>
                <a:gd name="T7" fmla="*/ 356 h 646"/>
                <a:gd name="T8" fmla="*/ 242 w 483"/>
                <a:gd name="T9" fmla="*/ 426 h 646"/>
                <a:gd name="T10" fmla="*/ 423 w 483"/>
                <a:gd name="T11" fmla="*/ 242 h 646"/>
                <a:gd name="T12" fmla="*/ 242 w 483"/>
                <a:gd name="T13" fmla="*/ 59 h 646"/>
                <a:gd name="T14" fmla="*/ 59 w 483"/>
                <a:gd name="T15" fmla="*/ 245 h 646"/>
                <a:gd name="T16" fmla="*/ 59 w 483"/>
                <a:gd name="T17" fmla="*/ 615 h 646"/>
                <a:gd name="T18" fmla="*/ 30 w 483"/>
                <a:gd name="T19" fmla="*/ 646 h 646"/>
                <a:gd name="T20" fmla="*/ 0 w 483"/>
                <a:gd name="T21" fmla="*/ 616 h 646"/>
                <a:gd name="T22" fmla="*/ 0 w 483"/>
                <a:gd name="T23" fmla="*/ 242 h 646"/>
                <a:gd name="T24" fmla="*/ 242 w 483"/>
                <a:gd name="T25" fmla="*/ 0 h 646"/>
                <a:gd name="T26" fmla="*/ 483 w 483"/>
                <a:gd name="T27" fmla="*/ 242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3" h="646">
                  <a:moveTo>
                    <a:pt x="483" y="242"/>
                  </a:moveTo>
                  <a:cubicBezTo>
                    <a:pt x="483" y="377"/>
                    <a:pt x="377" y="485"/>
                    <a:pt x="242" y="485"/>
                  </a:cubicBezTo>
                  <a:cubicBezTo>
                    <a:pt x="187" y="485"/>
                    <a:pt x="139" y="467"/>
                    <a:pt x="97" y="436"/>
                  </a:cubicBezTo>
                  <a:cubicBezTo>
                    <a:pt x="97" y="356"/>
                    <a:pt x="97" y="356"/>
                    <a:pt x="97" y="356"/>
                  </a:cubicBezTo>
                  <a:cubicBezTo>
                    <a:pt x="133" y="401"/>
                    <a:pt x="184" y="426"/>
                    <a:pt x="242" y="426"/>
                  </a:cubicBezTo>
                  <a:cubicBezTo>
                    <a:pt x="345" y="426"/>
                    <a:pt x="423" y="344"/>
                    <a:pt x="423" y="242"/>
                  </a:cubicBezTo>
                  <a:cubicBezTo>
                    <a:pt x="423" y="141"/>
                    <a:pt x="342" y="59"/>
                    <a:pt x="242" y="59"/>
                  </a:cubicBezTo>
                  <a:cubicBezTo>
                    <a:pt x="141" y="59"/>
                    <a:pt x="59" y="141"/>
                    <a:pt x="59" y="245"/>
                  </a:cubicBezTo>
                  <a:cubicBezTo>
                    <a:pt x="59" y="615"/>
                    <a:pt x="59" y="615"/>
                    <a:pt x="59" y="615"/>
                  </a:cubicBezTo>
                  <a:cubicBezTo>
                    <a:pt x="59" y="632"/>
                    <a:pt x="46" y="646"/>
                    <a:pt x="30" y="646"/>
                  </a:cubicBezTo>
                  <a:cubicBezTo>
                    <a:pt x="13" y="646"/>
                    <a:pt x="0" y="632"/>
                    <a:pt x="0" y="616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0" y="108"/>
                    <a:pt x="108" y="0"/>
                    <a:pt x="242" y="0"/>
                  </a:cubicBezTo>
                  <a:cubicBezTo>
                    <a:pt x="375" y="0"/>
                    <a:pt x="483" y="108"/>
                    <a:pt x="483" y="2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7" name="Freeform 15"/>
            <p:cNvSpPr>
              <a:spLocks noEditPoints="1"/>
            </p:cNvSpPr>
            <p:nvPr userDrawn="1"/>
          </p:nvSpPr>
          <p:spPr bwMode="auto">
            <a:xfrm>
              <a:off x="2454443" y="2319337"/>
              <a:ext cx="604838" cy="608013"/>
            </a:xfrm>
            <a:custGeom>
              <a:avLst/>
              <a:gdLst>
                <a:gd name="T0" fmla="*/ 241 w 483"/>
                <a:gd name="T1" fmla="*/ 0 h 485"/>
                <a:gd name="T2" fmla="*/ 483 w 483"/>
                <a:gd name="T3" fmla="*/ 242 h 485"/>
                <a:gd name="T4" fmla="*/ 241 w 483"/>
                <a:gd name="T5" fmla="*/ 485 h 485"/>
                <a:gd name="T6" fmla="*/ 0 w 483"/>
                <a:gd name="T7" fmla="*/ 242 h 485"/>
                <a:gd name="T8" fmla="*/ 241 w 483"/>
                <a:gd name="T9" fmla="*/ 0 h 485"/>
                <a:gd name="T10" fmla="*/ 241 w 483"/>
                <a:gd name="T11" fmla="*/ 426 h 485"/>
                <a:gd name="T12" fmla="*/ 425 w 483"/>
                <a:gd name="T13" fmla="*/ 242 h 485"/>
                <a:gd name="T14" fmla="*/ 241 w 483"/>
                <a:gd name="T15" fmla="*/ 58 h 485"/>
                <a:gd name="T16" fmla="*/ 59 w 483"/>
                <a:gd name="T17" fmla="*/ 242 h 485"/>
                <a:gd name="T18" fmla="*/ 241 w 483"/>
                <a:gd name="T19" fmla="*/ 42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3" h="485">
                  <a:moveTo>
                    <a:pt x="241" y="0"/>
                  </a:moveTo>
                  <a:cubicBezTo>
                    <a:pt x="376" y="0"/>
                    <a:pt x="483" y="108"/>
                    <a:pt x="483" y="242"/>
                  </a:cubicBezTo>
                  <a:cubicBezTo>
                    <a:pt x="483" y="377"/>
                    <a:pt x="376" y="485"/>
                    <a:pt x="241" y="485"/>
                  </a:cubicBezTo>
                  <a:cubicBezTo>
                    <a:pt x="107" y="485"/>
                    <a:pt x="0" y="377"/>
                    <a:pt x="0" y="242"/>
                  </a:cubicBezTo>
                  <a:cubicBezTo>
                    <a:pt x="0" y="108"/>
                    <a:pt x="107" y="0"/>
                    <a:pt x="241" y="0"/>
                  </a:cubicBezTo>
                  <a:close/>
                  <a:moveTo>
                    <a:pt x="241" y="426"/>
                  </a:moveTo>
                  <a:cubicBezTo>
                    <a:pt x="344" y="426"/>
                    <a:pt x="425" y="344"/>
                    <a:pt x="425" y="242"/>
                  </a:cubicBezTo>
                  <a:cubicBezTo>
                    <a:pt x="425" y="140"/>
                    <a:pt x="344" y="58"/>
                    <a:pt x="241" y="58"/>
                  </a:cubicBezTo>
                  <a:cubicBezTo>
                    <a:pt x="139" y="58"/>
                    <a:pt x="59" y="140"/>
                    <a:pt x="59" y="242"/>
                  </a:cubicBezTo>
                  <a:cubicBezTo>
                    <a:pt x="59" y="344"/>
                    <a:pt x="139" y="426"/>
                    <a:pt x="241" y="4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8" name="Freeform 16"/>
            <p:cNvSpPr>
              <a:spLocks/>
            </p:cNvSpPr>
            <p:nvPr userDrawn="1"/>
          </p:nvSpPr>
          <p:spPr bwMode="auto">
            <a:xfrm>
              <a:off x="3097381" y="2319337"/>
              <a:ext cx="365125" cy="608013"/>
            </a:xfrm>
            <a:custGeom>
              <a:avLst/>
              <a:gdLst>
                <a:gd name="T0" fmla="*/ 248 w 292"/>
                <a:gd name="T1" fmla="*/ 120 h 485"/>
                <a:gd name="T2" fmla="*/ 214 w 292"/>
                <a:gd name="T3" fmla="*/ 98 h 485"/>
                <a:gd name="T4" fmla="*/ 144 w 292"/>
                <a:gd name="T5" fmla="*/ 57 h 485"/>
                <a:gd name="T6" fmla="*/ 76 w 292"/>
                <a:gd name="T7" fmla="*/ 122 h 485"/>
                <a:gd name="T8" fmla="*/ 157 w 292"/>
                <a:gd name="T9" fmla="*/ 200 h 485"/>
                <a:gd name="T10" fmla="*/ 239 w 292"/>
                <a:gd name="T11" fmla="*/ 238 h 485"/>
                <a:gd name="T12" fmla="*/ 292 w 292"/>
                <a:gd name="T13" fmla="*/ 340 h 485"/>
                <a:gd name="T14" fmla="*/ 146 w 292"/>
                <a:gd name="T15" fmla="*/ 485 h 485"/>
                <a:gd name="T16" fmla="*/ 1 w 292"/>
                <a:gd name="T17" fmla="*/ 362 h 485"/>
                <a:gd name="T18" fmla="*/ 0 w 292"/>
                <a:gd name="T19" fmla="*/ 353 h 485"/>
                <a:gd name="T20" fmla="*/ 31 w 292"/>
                <a:gd name="T21" fmla="*/ 322 h 485"/>
                <a:gd name="T22" fmla="*/ 62 w 292"/>
                <a:gd name="T23" fmla="*/ 351 h 485"/>
                <a:gd name="T24" fmla="*/ 148 w 292"/>
                <a:gd name="T25" fmla="*/ 427 h 485"/>
                <a:gd name="T26" fmla="*/ 231 w 292"/>
                <a:gd name="T27" fmla="*/ 350 h 485"/>
                <a:gd name="T28" fmla="*/ 139 w 292"/>
                <a:gd name="T29" fmla="*/ 257 h 485"/>
                <a:gd name="T30" fmla="*/ 14 w 292"/>
                <a:gd name="T31" fmla="*/ 127 h 485"/>
                <a:gd name="T32" fmla="*/ 148 w 292"/>
                <a:gd name="T33" fmla="*/ 0 h 485"/>
                <a:gd name="T34" fmla="*/ 272 w 292"/>
                <a:gd name="T35" fmla="*/ 89 h 485"/>
                <a:gd name="T36" fmla="*/ 248 w 292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2" h="485">
                  <a:moveTo>
                    <a:pt x="248" y="120"/>
                  </a:moveTo>
                  <a:cubicBezTo>
                    <a:pt x="233" y="122"/>
                    <a:pt x="221" y="115"/>
                    <a:pt x="214" y="98"/>
                  </a:cubicBezTo>
                  <a:cubicBezTo>
                    <a:pt x="201" y="70"/>
                    <a:pt x="176" y="57"/>
                    <a:pt x="144" y="57"/>
                  </a:cubicBezTo>
                  <a:cubicBezTo>
                    <a:pt x="106" y="57"/>
                    <a:pt x="76" y="89"/>
                    <a:pt x="76" y="122"/>
                  </a:cubicBezTo>
                  <a:cubicBezTo>
                    <a:pt x="76" y="158"/>
                    <a:pt x="97" y="179"/>
                    <a:pt x="157" y="200"/>
                  </a:cubicBezTo>
                  <a:cubicBezTo>
                    <a:pt x="185" y="210"/>
                    <a:pt x="217" y="223"/>
                    <a:pt x="239" y="238"/>
                  </a:cubicBezTo>
                  <a:cubicBezTo>
                    <a:pt x="275" y="264"/>
                    <a:pt x="292" y="298"/>
                    <a:pt x="292" y="340"/>
                  </a:cubicBezTo>
                  <a:cubicBezTo>
                    <a:pt x="292" y="428"/>
                    <a:pt x="231" y="485"/>
                    <a:pt x="146" y="485"/>
                  </a:cubicBezTo>
                  <a:cubicBezTo>
                    <a:pt x="67" y="485"/>
                    <a:pt x="20" y="436"/>
                    <a:pt x="1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4" y="322"/>
                    <a:pt x="31" y="322"/>
                  </a:cubicBezTo>
                  <a:cubicBezTo>
                    <a:pt x="48" y="322"/>
                    <a:pt x="59" y="334"/>
                    <a:pt x="62" y="351"/>
                  </a:cubicBezTo>
                  <a:cubicBezTo>
                    <a:pt x="70" y="395"/>
                    <a:pt x="106" y="427"/>
                    <a:pt x="148" y="427"/>
                  </a:cubicBezTo>
                  <a:cubicBezTo>
                    <a:pt x="191" y="427"/>
                    <a:pt x="231" y="392"/>
                    <a:pt x="231" y="350"/>
                  </a:cubicBezTo>
                  <a:cubicBezTo>
                    <a:pt x="231" y="308"/>
                    <a:pt x="205" y="279"/>
                    <a:pt x="139" y="257"/>
                  </a:cubicBezTo>
                  <a:cubicBezTo>
                    <a:pt x="46" y="226"/>
                    <a:pt x="14" y="190"/>
                    <a:pt x="14" y="127"/>
                  </a:cubicBezTo>
                  <a:cubicBezTo>
                    <a:pt x="14" y="54"/>
                    <a:pt x="72" y="0"/>
                    <a:pt x="148" y="0"/>
                  </a:cubicBezTo>
                  <a:cubicBezTo>
                    <a:pt x="215" y="0"/>
                    <a:pt x="272" y="47"/>
                    <a:pt x="272" y="89"/>
                  </a:cubicBezTo>
                  <a:cubicBezTo>
                    <a:pt x="272" y="103"/>
                    <a:pt x="266" y="117"/>
                    <a:pt x="248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49" name="Freeform 17"/>
            <p:cNvSpPr>
              <a:spLocks/>
            </p:cNvSpPr>
            <p:nvPr userDrawn="1"/>
          </p:nvSpPr>
          <p:spPr bwMode="auto">
            <a:xfrm>
              <a:off x="3518068" y="2319337"/>
              <a:ext cx="363538" cy="608013"/>
            </a:xfrm>
            <a:custGeom>
              <a:avLst/>
              <a:gdLst>
                <a:gd name="T0" fmla="*/ 248 w 291"/>
                <a:gd name="T1" fmla="*/ 120 h 485"/>
                <a:gd name="T2" fmla="*/ 213 w 291"/>
                <a:gd name="T3" fmla="*/ 98 h 485"/>
                <a:gd name="T4" fmla="*/ 143 w 291"/>
                <a:gd name="T5" fmla="*/ 57 h 485"/>
                <a:gd name="T6" fmla="*/ 75 w 291"/>
                <a:gd name="T7" fmla="*/ 122 h 485"/>
                <a:gd name="T8" fmla="*/ 156 w 291"/>
                <a:gd name="T9" fmla="*/ 200 h 485"/>
                <a:gd name="T10" fmla="*/ 238 w 291"/>
                <a:gd name="T11" fmla="*/ 238 h 485"/>
                <a:gd name="T12" fmla="*/ 291 w 291"/>
                <a:gd name="T13" fmla="*/ 340 h 485"/>
                <a:gd name="T14" fmla="*/ 145 w 291"/>
                <a:gd name="T15" fmla="*/ 485 h 485"/>
                <a:gd name="T16" fmla="*/ 1 w 291"/>
                <a:gd name="T17" fmla="*/ 362 h 485"/>
                <a:gd name="T18" fmla="*/ 0 w 291"/>
                <a:gd name="T19" fmla="*/ 353 h 485"/>
                <a:gd name="T20" fmla="*/ 30 w 291"/>
                <a:gd name="T21" fmla="*/ 322 h 485"/>
                <a:gd name="T22" fmla="*/ 62 w 291"/>
                <a:gd name="T23" fmla="*/ 351 h 485"/>
                <a:gd name="T24" fmla="*/ 147 w 291"/>
                <a:gd name="T25" fmla="*/ 427 h 485"/>
                <a:gd name="T26" fmla="*/ 230 w 291"/>
                <a:gd name="T27" fmla="*/ 350 h 485"/>
                <a:gd name="T28" fmla="*/ 138 w 291"/>
                <a:gd name="T29" fmla="*/ 257 h 485"/>
                <a:gd name="T30" fmla="*/ 13 w 291"/>
                <a:gd name="T31" fmla="*/ 127 h 485"/>
                <a:gd name="T32" fmla="*/ 147 w 291"/>
                <a:gd name="T33" fmla="*/ 0 h 485"/>
                <a:gd name="T34" fmla="*/ 272 w 291"/>
                <a:gd name="T35" fmla="*/ 89 h 485"/>
                <a:gd name="T36" fmla="*/ 248 w 291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1" h="485">
                  <a:moveTo>
                    <a:pt x="248" y="120"/>
                  </a:moveTo>
                  <a:cubicBezTo>
                    <a:pt x="232" y="122"/>
                    <a:pt x="221" y="115"/>
                    <a:pt x="213" y="98"/>
                  </a:cubicBezTo>
                  <a:cubicBezTo>
                    <a:pt x="201" y="70"/>
                    <a:pt x="176" y="57"/>
                    <a:pt x="143" y="57"/>
                  </a:cubicBezTo>
                  <a:cubicBezTo>
                    <a:pt x="105" y="57"/>
                    <a:pt x="75" y="89"/>
                    <a:pt x="75" y="122"/>
                  </a:cubicBezTo>
                  <a:cubicBezTo>
                    <a:pt x="75" y="158"/>
                    <a:pt x="96" y="179"/>
                    <a:pt x="156" y="200"/>
                  </a:cubicBezTo>
                  <a:cubicBezTo>
                    <a:pt x="184" y="210"/>
                    <a:pt x="217" y="223"/>
                    <a:pt x="238" y="238"/>
                  </a:cubicBezTo>
                  <a:cubicBezTo>
                    <a:pt x="274" y="264"/>
                    <a:pt x="291" y="298"/>
                    <a:pt x="291" y="340"/>
                  </a:cubicBezTo>
                  <a:cubicBezTo>
                    <a:pt x="291" y="428"/>
                    <a:pt x="231" y="485"/>
                    <a:pt x="145" y="485"/>
                  </a:cubicBezTo>
                  <a:cubicBezTo>
                    <a:pt x="67" y="485"/>
                    <a:pt x="19" y="436"/>
                    <a:pt x="1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3" y="322"/>
                    <a:pt x="30" y="322"/>
                  </a:cubicBezTo>
                  <a:cubicBezTo>
                    <a:pt x="48" y="322"/>
                    <a:pt x="58" y="334"/>
                    <a:pt x="62" y="351"/>
                  </a:cubicBezTo>
                  <a:cubicBezTo>
                    <a:pt x="69" y="395"/>
                    <a:pt x="105" y="427"/>
                    <a:pt x="147" y="427"/>
                  </a:cubicBezTo>
                  <a:cubicBezTo>
                    <a:pt x="191" y="427"/>
                    <a:pt x="230" y="392"/>
                    <a:pt x="230" y="350"/>
                  </a:cubicBezTo>
                  <a:cubicBezTo>
                    <a:pt x="230" y="308"/>
                    <a:pt x="204" y="279"/>
                    <a:pt x="138" y="257"/>
                  </a:cubicBezTo>
                  <a:cubicBezTo>
                    <a:pt x="46" y="226"/>
                    <a:pt x="13" y="190"/>
                    <a:pt x="13" y="127"/>
                  </a:cubicBezTo>
                  <a:cubicBezTo>
                    <a:pt x="13" y="54"/>
                    <a:pt x="71" y="0"/>
                    <a:pt x="147" y="0"/>
                  </a:cubicBezTo>
                  <a:cubicBezTo>
                    <a:pt x="215" y="0"/>
                    <a:pt x="272" y="47"/>
                    <a:pt x="272" y="89"/>
                  </a:cubicBezTo>
                  <a:cubicBezTo>
                    <a:pt x="272" y="103"/>
                    <a:pt x="265" y="117"/>
                    <a:pt x="248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50" name="Freeform 18"/>
            <p:cNvSpPr>
              <a:spLocks noEditPoints="1"/>
            </p:cNvSpPr>
            <p:nvPr userDrawn="1"/>
          </p:nvSpPr>
          <p:spPr bwMode="auto">
            <a:xfrm>
              <a:off x="3949868" y="2160587"/>
              <a:ext cx="104775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9" y="83"/>
                    <a:pt x="0" y="6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51" name="Freeform 19"/>
            <p:cNvSpPr>
              <a:spLocks noEditPoints="1"/>
            </p:cNvSpPr>
            <p:nvPr userDrawn="1"/>
          </p:nvSpPr>
          <p:spPr bwMode="auto">
            <a:xfrm>
              <a:off x="3953043" y="1806574"/>
              <a:ext cx="790575" cy="1120775"/>
            </a:xfrm>
            <a:custGeom>
              <a:avLst/>
              <a:gdLst>
                <a:gd name="T0" fmla="*/ 391 w 632"/>
                <a:gd name="T1" fmla="*/ 410 h 895"/>
                <a:gd name="T2" fmla="*/ 247 w 632"/>
                <a:gd name="T3" fmla="*/ 454 h 895"/>
                <a:gd name="T4" fmla="*/ 247 w 632"/>
                <a:gd name="T5" fmla="*/ 534 h 895"/>
                <a:gd name="T6" fmla="*/ 391 w 632"/>
                <a:gd name="T7" fmla="*/ 468 h 895"/>
                <a:gd name="T8" fmla="*/ 571 w 632"/>
                <a:gd name="T9" fmla="*/ 652 h 895"/>
                <a:gd name="T10" fmla="*/ 391 w 632"/>
                <a:gd name="T11" fmla="*/ 836 h 895"/>
                <a:gd name="T12" fmla="*/ 209 w 632"/>
                <a:gd name="T13" fmla="*/ 650 h 895"/>
                <a:gd name="T14" fmla="*/ 209 w 632"/>
                <a:gd name="T15" fmla="*/ 83 h 895"/>
                <a:gd name="T16" fmla="*/ 554 w 632"/>
                <a:gd name="T17" fmla="*/ 83 h 895"/>
                <a:gd name="T18" fmla="*/ 596 w 632"/>
                <a:gd name="T19" fmla="*/ 42 h 895"/>
                <a:gd name="T20" fmla="*/ 554 w 632"/>
                <a:gd name="T21" fmla="*/ 0 h 895"/>
                <a:gd name="T22" fmla="*/ 41 w 632"/>
                <a:gd name="T23" fmla="*/ 0 h 895"/>
                <a:gd name="T24" fmla="*/ 0 w 632"/>
                <a:gd name="T25" fmla="*/ 42 h 895"/>
                <a:gd name="T26" fmla="*/ 41 w 632"/>
                <a:gd name="T27" fmla="*/ 83 h 895"/>
                <a:gd name="T28" fmla="*/ 150 w 632"/>
                <a:gd name="T29" fmla="*/ 83 h 895"/>
                <a:gd name="T30" fmla="*/ 150 w 632"/>
                <a:gd name="T31" fmla="*/ 652 h 895"/>
                <a:gd name="T32" fmla="*/ 391 w 632"/>
                <a:gd name="T33" fmla="*/ 895 h 895"/>
                <a:gd name="T34" fmla="*/ 632 w 632"/>
                <a:gd name="T35" fmla="*/ 652 h 895"/>
                <a:gd name="T36" fmla="*/ 391 w 632"/>
                <a:gd name="T37" fmla="*/ 410 h 895"/>
                <a:gd name="T38" fmla="*/ 14 w 632"/>
                <a:gd name="T39" fmla="*/ 42 h 895"/>
                <a:gd name="T40" fmla="*/ 41 w 632"/>
                <a:gd name="T41" fmla="*/ 15 h 895"/>
                <a:gd name="T42" fmla="*/ 554 w 632"/>
                <a:gd name="T43" fmla="*/ 15 h 895"/>
                <a:gd name="T44" fmla="*/ 582 w 632"/>
                <a:gd name="T45" fmla="*/ 42 h 895"/>
                <a:gd name="T46" fmla="*/ 554 w 632"/>
                <a:gd name="T47" fmla="*/ 69 h 895"/>
                <a:gd name="T48" fmla="*/ 41 w 632"/>
                <a:gd name="T49" fmla="*/ 69 h 895"/>
                <a:gd name="T50" fmla="*/ 14 w 632"/>
                <a:gd name="T51" fmla="*/ 42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32" h="895">
                  <a:moveTo>
                    <a:pt x="391" y="410"/>
                  </a:moveTo>
                  <a:cubicBezTo>
                    <a:pt x="336" y="410"/>
                    <a:pt x="289" y="423"/>
                    <a:pt x="247" y="454"/>
                  </a:cubicBezTo>
                  <a:cubicBezTo>
                    <a:pt x="247" y="534"/>
                    <a:pt x="247" y="534"/>
                    <a:pt x="247" y="534"/>
                  </a:cubicBezTo>
                  <a:cubicBezTo>
                    <a:pt x="284" y="489"/>
                    <a:pt x="333" y="468"/>
                    <a:pt x="391" y="468"/>
                  </a:cubicBezTo>
                  <a:cubicBezTo>
                    <a:pt x="494" y="468"/>
                    <a:pt x="571" y="551"/>
                    <a:pt x="571" y="652"/>
                  </a:cubicBezTo>
                  <a:cubicBezTo>
                    <a:pt x="571" y="754"/>
                    <a:pt x="491" y="836"/>
                    <a:pt x="391" y="836"/>
                  </a:cubicBezTo>
                  <a:cubicBezTo>
                    <a:pt x="290" y="836"/>
                    <a:pt x="209" y="754"/>
                    <a:pt x="209" y="650"/>
                  </a:cubicBezTo>
                  <a:cubicBezTo>
                    <a:pt x="209" y="83"/>
                    <a:pt x="209" y="83"/>
                    <a:pt x="209" y="83"/>
                  </a:cubicBezTo>
                  <a:cubicBezTo>
                    <a:pt x="554" y="83"/>
                    <a:pt x="554" y="83"/>
                    <a:pt x="554" y="83"/>
                  </a:cubicBezTo>
                  <a:cubicBezTo>
                    <a:pt x="577" y="83"/>
                    <a:pt x="596" y="64"/>
                    <a:pt x="596" y="42"/>
                  </a:cubicBezTo>
                  <a:cubicBezTo>
                    <a:pt x="596" y="19"/>
                    <a:pt x="577" y="0"/>
                    <a:pt x="554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9" y="0"/>
                    <a:pt x="0" y="19"/>
                    <a:pt x="0" y="42"/>
                  </a:cubicBezTo>
                  <a:cubicBezTo>
                    <a:pt x="0" y="64"/>
                    <a:pt x="19" y="83"/>
                    <a:pt x="41" y="83"/>
                  </a:cubicBezTo>
                  <a:cubicBezTo>
                    <a:pt x="150" y="83"/>
                    <a:pt x="150" y="83"/>
                    <a:pt x="150" y="83"/>
                  </a:cubicBezTo>
                  <a:cubicBezTo>
                    <a:pt x="150" y="652"/>
                    <a:pt x="150" y="652"/>
                    <a:pt x="150" y="652"/>
                  </a:cubicBezTo>
                  <a:cubicBezTo>
                    <a:pt x="150" y="787"/>
                    <a:pt x="257" y="895"/>
                    <a:pt x="391" y="895"/>
                  </a:cubicBezTo>
                  <a:cubicBezTo>
                    <a:pt x="524" y="895"/>
                    <a:pt x="632" y="787"/>
                    <a:pt x="632" y="652"/>
                  </a:cubicBezTo>
                  <a:cubicBezTo>
                    <a:pt x="632" y="518"/>
                    <a:pt x="526" y="410"/>
                    <a:pt x="391" y="410"/>
                  </a:cubicBezTo>
                  <a:close/>
                  <a:moveTo>
                    <a:pt x="14" y="42"/>
                  </a:moveTo>
                  <a:cubicBezTo>
                    <a:pt x="14" y="27"/>
                    <a:pt x="26" y="15"/>
                    <a:pt x="41" y="15"/>
                  </a:cubicBezTo>
                  <a:cubicBezTo>
                    <a:pt x="554" y="15"/>
                    <a:pt x="554" y="15"/>
                    <a:pt x="554" y="15"/>
                  </a:cubicBezTo>
                  <a:cubicBezTo>
                    <a:pt x="570" y="15"/>
                    <a:pt x="582" y="27"/>
                    <a:pt x="582" y="42"/>
                  </a:cubicBezTo>
                  <a:cubicBezTo>
                    <a:pt x="582" y="57"/>
                    <a:pt x="570" y="69"/>
                    <a:pt x="554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26" y="69"/>
                    <a:pt x="14" y="57"/>
                    <a:pt x="14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52" name="Freeform 20"/>
            <p:cNvSpPr>
              <a:spLocks noEditPoints="1"/>
            </p:cNvSpPr>
            <p:nvPr userDrawn="1"/>
          </p:nvSpPr>
          <p:spPr bwMode="auto">
            <a:xfrm>
              <a:off x="4815056" y="2160587"/>
              <a:ext cx="104775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53" name="Freeform 21"/>
            <p:cNvSpPr>
              <a:spLocks noEditPoints="1"/>
            </p:cNvSpPr>
            <p:nvPr userDrawn="1"/>
          </p:nvSpPr>
          <p:spPr bwMode="auto">
            <a:xfrm>
              <a:off x="5199231" y="2160587"/>
              <a:ext cx="106363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54" name="Freeform 22"/>
            <p:cNvSpPr>
              <a:spLocks/>
            </p:cNvSpPr>
            <p:nvPr userDrawn="1"/>
          </p:nvSpPr>
          <p:spPr bwMode="auto">
            <a:xfrm>
              <a:off x="5369093" y="2114549"/>
              <a:ext cx="330200" cy="806450"/>
            </a:xfrm>
            <a:custGeom>
              <a:avLst/>
              <a:gdLst>
                <a:gd name="T0" fmla="*/ 161 w 264"/>
                <a:gd name="T1" fmla="*/ 175 h 644"/>
                <a:gd name="T2" fmla="*/ 264 w 264"/>
                <a:gd name="T3" fmla="*/ 175 h 644"/>
                <a:gd name="T4" fmla="*/ 264 w 264"/>
                <a:gd name="T5" fmla="*/ 233 h 644"/>
                <a:gd name="T6" fmla="*/ 161 w 264"/>
                <a:gd name="T7" fmla="*/ 233 h 644"/>
                <a:gd name="T8" fmla="*/ 161 w 264"/>
                <a:gd name="T9" fmla="*/ 612 h 644"/>
                <a:gd name="T10" fmla="*/ 132 w 264"/>
                <a:gd name="T11" fmla="*/ 644 h 644"/>
                <a:gd name="T12" fmla="*/ 102 w 264"/>
                <a:gd name="T13" fmla="*/ 612 h 644"/>
                <a:gd name="T14" fmla="*/ 102 w 264"/>
                <a:gd name="T15" fmla="*/ 233 h 644"/>
                <a:gd name="T16" fmla="*/ 0 w 264"/>
                <a:gd name="T17" fmla="*/ 233 h 644"/>
                <a:gd name="T18" fmla="*/ 0 w 264"/>
                <a:gd name="T19" fmla="*/ 175 h 644"/>
                <a:gd name="T20" fmla="*/ 102 w 264"/>
                <a:gd name="T21" fmla="*/ 175 h 644"/>
                <a:gd name="T22" fmla="*/ 102 w 264"/>
                <a:gd name="T23" fmla="*/ 32 h 644"/>
                <a:gd name="T24" fmla="*/ 132 w 264"/>
                <a:gd name="T25" fmla="*/ 0 h 644"/>
                <a:gd name="T26" fmla="*/ 161 w 264"/>
                <a:gd name="T27" fmla="*/ 32 h 644"/>
                <a:gd name="T28" fmla="*/ 161 w 264"/>
                <a:gd name="T29" fmla="*/ 175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4" h="644">
                  <a:moveTo>
                    <a:pt x="161" y="175"/>
                  </a:moveTo>
                  <a:cubicBezTo>
                    <a:pt x="264" y="175"/>
                    <a:pt x="264" y="175"/>
                    <a:pt x="264" y="175"/>
                  </a:cubicBezTo>
                  <a:cubicBezTo>
                    <a:pt x="264" y="233"/>
                    <a:pt x="264" y="233"/>
                    <a:pt x="264" y="233"/>
                  </a:cubicBezTo>
                  <a:cubicBezTo>
                    <a:pt x="161" y="233"/>
                    <a:pt x="161" y="233"/>
                    <a:pt x="161" y="233"/>
                  </a:cubicBezTo>
                  <a:cubicBezTo>
                    <a:pt x="161" y="612"/>
                    <a:pt x="161" y="612"/>
                    <a:pt x="161" y="612"/>
                  </a:cubicBezTo>
                  <a:cubicBezTo>
                    <a:pt x="161" y="630"/>
                    <a:pt x="149" y="644"/>
                    <a:pt x="132" y="644"/>
                  </a:cubicBezTo>
                  <a:cubicBezTo>
                    <a:pt x="114" y="644"/>
                    <a:pt x="102" y="630"/>
                    <a:pt x="102" y="612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102" y="175"/>
                    <a:pt x="102" y="175"/>
                    <a:pt x="102" y="175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14"/>
                    <a:pt x="114" y="0"/>
                    <a:pt x="132" y="0"/>
                  </a:cubicBezTo>
                  <a:cubicBezTo>
                    <a:pt x="149" y="0"/>
                    <a:pt x="161" y="14"/>
                    <a:pt x="161" y="32"/>
                  </a:cubicBezTo>
                  <a:lnTo>
                    <a:pt x="161" y="17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82" name="Freeform 23"/>
            <p:cNvSpPr>
              <a:spLocks noEditPoints="1"/>
            </p:cNvSpPr>
            <p:nvPr userDrawn="1"/>
          </p:nvSpPr>
          <p:spPr bwMode="auto">
            <a:xfrm>
              <a:off x="5759618" y="2160587"/>
              <a:ext cx="106363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9" y="83"/>
                    <a:pt x="0" y="6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83" name="Freeform 24"/>
            <p:cNvSpPr>
              <a:spLocks/>
            </p:cNvSpPr>
            <p:nvPr userDrawn="1"/>
          </p:nvSpPr>
          <p:spPr bwMode="auto">
            <a:xfrm>
              <a:off x="5932656" y="2320924"/>
              <a:ext cx="598488" cy="606425"/>
            </a:xfrm>
            <a:custGeom>
              <a:avLst/>
              <a:gdLst>
                <a:gd name="T0" fmla="*/ 139 w 478"/>
                <a:gd name="T1" fmla="*/ 205 h 484"/>
                <a:gd name="T2" fmla="*/ 413 w 478"/>
                <a:gd name="T3" fmla="*/ 205 h 484"/>
                <a:gd name="T4" fmla="*/ 239 w 478"/>
                <a:gd name="T5" fmla="*/ 56 h 484"/>
                <a:gd name="T6" fmla="*/ 60 w 478"/>
                <a:gd name="T7" fmla="*/ 237 h 484"/>
                <a:gd name="T8" fmla="*/ 238 w 478"/>
                <a:gd name="T9" fmla="*/ 425 h 484"/>
                <a:gd name="T10" fmla="*/ 396 w 478"/>
                <a:gd name="T11" fmla="*/ 335 h 484"/>
                <a:gd name="T12" fmla="*/ 426 w 478"/>
                <a:gd name="T13" fmla="*/ 318 h 484"/>
                <a:gd name="T14" fmla="*/ 455 w 478"/>
                <a:gd name="T15" fmla="*/ 349 h 484"/>
                <a:gd name="T16" fmla="*/ 449 w 478"/>
                <a:gd name="T17" fmla="*/ 369 h 484"/>
                <a:gd name="T18" fmla="*/ 449 w 478"/>
                <a:gd name="T19" fmla="*/ 369 h 484"/>
                <a:gd name="T20" fmla="*/ 239 w 478"/>
                <a:gd name="T21" fmla="*/ 484 h 484"/>
                <a:gd name="T22" fmla="*/ 0 w 478"/>
                <a:gd name="T23" fmla="*/ 242 h 484"/>
                <a:gd name="T24" fmla="*/ 238 w 478"/>
                <a:gd name="T25" fmla="*/ 0 h 484"/>
                <a:gd name="T26" fmla="*/ 478 w 478"/>
                <a:gd name="T27" fmla="*/ 235 h 484"/>
                <a:gd name="T28" fmla="*/ 449 w 478"/>
                <a:gd name="T29" fmla="*/ 265 h 484"/>
                <a:gd name="T30" fmla="*/ 139 w 478"/>
                <a:gd name="T31" fmla="*/ 265 h 484"/>
                <a:gd name="T32" fmla="*/ 111 w 478"/>
                <a:gd name="T33" fmla="*/ 236 h 484"/>
                <a:gd name="T34" fmla="*/ 139 w 478"/>
                <a:gd name="T35" fmla="*/ 205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8" h="484">
                  <a:moveTo>
                    <a:pt x="139" y="205"/>
                  </a:moveTo>
                  <a:cubicBezTo>
                    <a:pt x="413" y="205"/>
                    <a:pt x="413" y="205"/>
                    <a:pt x="413" y="205"/>
                  </a:cubicBezTo>
                  <a:cubicBezTo>
                    <a:pt x="398" y="118"/>
                    <a:pt x="323" y="56"/>
                    <a:pt x="239" y="56"/>
                  </a:cubicBezTo>
                  <a:cubicBezTo>
                    <a:pt x="146" y="56"/>
                    <a:pt x="60" y="135"/>
                    <a:pt x="60" y="237"/>
                  </a:cubicBezTo>
                  <a:cubicBezTo>
                    <a:pt x="60" y="336"/>
                    <a:pt x="131" y="420"/>
                    <a:pt x="238" y="425"/>
                  </a:cubicBezTo>
                  <a:cubicBezTo>
                    <a:pt x="299" y="427"/>
                    <a:pt x="361" y="392"/>
                    <a:pt x="396" y="335"/>
                  </a:cubicBezTo>
                  <a:cubicBezTo>
                    <a:pt x="402" y="325"/>
                    <a:pt x="413" y="318"/>
                    <a:pt x="426" y="318"/>
                  </a:cubicBezTo>
                  <a:cubicBezTo>
                    <a:pt x="444" y="318"/>
                    <a:pt x="455" y="331"/>
                    <a:pt x="455" y="349"/>
                  </a:cubicBezTo>
                  <a:cubicBezTo>
                    <a:pt x="455" y="356"/>
                    <a:pt x="453" y="363"/>
                    <a:pt x="449" y="369"/>
                  </a:cubicBezTo>
                  <a:cubicBezTo>
                    <a:pt x="449" y="369"/>
                    <a:pt x="449" y="369"/>
                    <a:pt x="449" y="369"/>
                  </a:cubicBezTo>
                  <a:cubicBezTo>
                    <a:pt x="407" y="441"/>
                    <a:pt x="327" y="484"/>
                    <a:pt x="239" y="484"/>
                  </a:cubicBezTo>
                  <a:cubicBezTo>
                    <a:pt x="103" y="480"/>
                    <a:pt x="0" y="377"/>
                    <a:pt x="0" y="242"/>
                  </a:cubicBezTo>
                  <a:cubicBezTo>
                    <a:pt x="0" y="107"/>
                    <a:pt x="103" y="0"/>
                    <a:pt x="238" y="0"/>
                  </a:cubicBezTo>
                  <a:cubicBezTo>
                    <a:pt x="361" y="0"/>
                    <a:pt x="478" y="95"/>
                    <a:pt x="478" y="235"/>
                  </a:cubicBezTo>
                  <a:cubicBezTo>
                    <a:pt x="478" y="254"/>
                    <a:pt x="465" y="265"/>
                    <a:pt x="449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23" y="265"/>
                    <a:pt x="111" y="252"/>
                    <a:pt x="111" y="236"/>
                  </a:cubicBezTo>
                  <a:cubicBezTo>
                    <a:pt x="111" y="220"/>
                    <a:pt x="123" y="205"/>
                    <a:pt x="139" y="2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84" name="Freeform 25"/>
            <p:cNvSpPr>
              <a:spLocks/>
            </p:cNvSpPr>
            <p:nvPr userDrawn="1"/>
          </p:nvSpPr>
          <p:spPr bwMode="auto">
            <a:xfrm>
              <a:off x="6562893" y="2319337"/>
              <a:ext cx="363538" cy="608013"/>
            </a:xfrm>
            <a:custGeom>
              <a:avLst/>
              <a:gdLst>
                <a:gd name="T0" fmla="*/ 247 w 291"/>
                <a:gd name="T1" fmla="*/ 120 h 485"/>
                <a:gd name="T2" fmla="*/ 213 w 291"/>
                <a:gd name="T3" fmla="*/ 98 h 485"/>
                <a:gd name="T4" fmla="*/ 143 w 291"/>
                <a:gd name="T5" fmla="*/ 57 h 485"/>
                <a:gd name="T6" fmla="*/ 75 w 291"/>
                <a:gd name="T7" fmla="*/ 122 h 485"/>
                <a:gd name="T8" fmla="*/ 156 w 291"/>
                <a:gd name="T9" fmla="*/ 200 h 485"/>
                <a:gd name="T10" fmla="*/ 238 w 291"/>
                <a:gd name="T11" fmla="*/ 238 h 485"/>
                <a:gd name="T12" fmla="*/ 291 w 291"/>
                <a:gd name="T13" fmla="*/ 340 h 485"/>
                <a:gd name="T14" fmla="*/ 145 w 291"/>
                <a:gd name="T15" fmla="*/ 485 h 485"/>
                <a:gd name="T16" fmla="*/ 0 w 291"/>
                <a:gd name="T17" fmla="*/ 362 h 485"/>
                <a:gd name="T18" fmla="*/ 0 w 291"/>
                <a:gd name="T19" fmla="*/ 353 h 485"/>
                <a:gd name="T20" fmla="*/ 30 w 291"/>
                <a:gd name="T21" fmla="*/ 322 h 485"/>
                <a:gd name="T22" fmla="*/ 61 w 291"/>
                <a:gd name="T23" fmla="*/ 351 h 485"/>
                <a:gd name="T24" fmla="*/ 147 w 291"/>
                <a:gd name="T25" fmla="*/ 427 h 485"/>
                <a:gd name="T26" fmla="*/ 230 w 291"/>
                <a:gd name="T27" fmla="*/ 350 h 485"/>
                <a:gd name="T28" fmla="*/ 138 w 291"/>
                <a:gd name="T29" fmla="*/ 257 h 485"/>
                <a:gd name="T30" fmla="*/ 13 w 291"/>
                <a:gd name="T31" fmla="*/ 127 h 485"/>
                <a:gd name="T32" fmla="*/ 147 w 291"/>
                <a:gd name="T33" fmla="*/ 0 h 485"/>
                <a:gd name="T34" fmla="*/ 271 w 291"/>
                <a:gd name="T35" fmla="*/ 89 h 485"/>
                <a:gd name="T36" fmla="*/ 247 w 291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1" h="485">
                  <a:moveTo>
                    <a:pt x="247" y="120"/>
                  </a:moveTo>
                  <a:cubicBezTo>
                    <a:pt x="232" y="122"/>
                    <a:pt x="220" y="115"/>
                    <a:pt x="213" y="98"/>
                  </a:cubicBezTo>
                  <a:cubicBezTo>
                    <a:pt x="200" y="70"/>
                    <a:pt x="175" y="57"/>
                    <a:pt x="143" y="57"/>
                  </a:cubicBezTo>
                  <a:cubicBezTo>
                    <a:pt x="105" y="57"/>
                    <a:pt x="75" y="89"/>
                    <a:pt x="75" y="122"/>
                  </a:cubicBezTo>
                  <a:cubicBezTo>
                    <a:pt x="75" y="158"/>
                    <a:pt x="96" y="179"/>
                    <a:pt x="156" y="200"/>
                  </a:cubicBezTo>
                  <a:cubicBezTo>
                    <a:pt x="184" y="210"/>
                    <a:pt x="216" y="223"/>
                    <a:pt x="238" y="238"/>
                  </a:cubicBezTo>
                  <a:cubicBezTo>
                    <a:pt x="274" y="264"/>
                    <a:pt x="291" y="298"/>
                    <a:pt x="291" y="340"/>
                  </a:cubicBezTo>
                  <a:cubicBezTo>
                    <a:pt x="291" y="428"/>
                    <a:pt x="230" y="485"/>
                    <a:pt x="145" y="485"/>
                  </a:cubicBezTo>
                  <a:cubicBezTo>
                    <a:pt x="66" y="485"/>
                    <a:pt x="19" y="436"/>
                    <a:pt x="0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3" y="322"/>
                    <a:pt x="30" y="322"/>
                  </a:cubicBezTo>
                  <a:cubicBezTo>
                    <a:pt x="47" y="322"/>
                    <a:pt x="58" y="334"/>
                    <a:pt x="61" y="351"/>
                  </a:cubicBezTo>
                  <a:cubicBezTo>
                    <a:pt x="69" y="395"/>
                    <a:pt x="105" y="427"/>
                    <a:pt x="147" y="427"/>
                  </a:cubicBezTo>
                  <a:cubicBezTo>
                    <a:pt x="190" y="427"/>
                    <a:pt x="230" y="392"/>
                    <a:pt x="230" y="350"/>
                  </a:cubicBezTo>
                  <a:cubicBezTo>
                    <a:pt x="230" y="308"/>
                    <a:pt x="204" y="279"/>
                    <a:pt x="138" y="257"/>
                  </a:cubicBezTo>
                  <a:cubicBezTo>
                    <a:pt x="46" y="226"/>
                    <a:pt x="13" y="190"/>
                    <a:pt x="13" y="127"/>
                  </a:cubicBezTo>
                  <a:cubicBezTo>
                    <a:pt x="13" y="54"/>
                    <a:pt x="71" y="0"/>
                    <a:pt x="147" y="0"/>
                  </a:cubicBezTo>
                  <a:cubicBezTo>
                    <a:pt x="215" y="0"/>
                    <a:pt x="271" y="47"/>
                    <a:pt x="271" y="89"/>
                  </a:cubicBezTo>
                  <a:cubicBezTo>
                    <a:pt x="271" y="103"/>
                    <a:pt x="265" y="117"/>
                    <a:pt x="247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85" name="Freeform 26"/>
            <p:cNvSpPr>
              <a:spLocks/>
            </p:cNvSpPr>
            <p:nvPr userDrawn="1"/>
          </p:nvSpPr>
          <p:spPr bwMode="auto">
            <a:xfrm>
              <a:off x="4838868" y="1015999"/>
              <a:ext cx="434975" cy="1905000"/>
            </a:xfrm>
            <a:custGeom>
              <a:avLst/>
              <a:gdLst>
                <a:gd name="T0" fmla="*/ 334 w 347"/>
                <a:gd name="T1" fmla="*/ 147 h 1523"/>
                <a:gd name="T2" fmla="*/ 201 w 347"/>
                <a:gd name="T3" fmla="*/ 13 h 1523"/>
                <a:gd name="T4" fmla="*/ 152 w 347"/>
                <a:gd name="T5" fmla="*/ 13 h 1523"/>
                <a:gd name="T6" fmla="*/ 14 w 347"/>
                <a:gd name="T7" fmla="*/ 145 h 1523"/>
                <a:gd name="T8" fmla="*/ 13 w 347"/>
                <a:gd name="T9" fmla="*/ 194 h 1523"/>
                <a:gd name="T10" fmla="*/ 61 w 347"/>
                <a:gd name="T11" fmla="*/ 195 h 1523"/>
                <a:gd name="T12" fmla="*/ 146 w 347"/>
                <a:gd name="T13" fmla="*/ 116 h 1523"/>
                <a:gd name="T14" fmla="*/ 146 w 347"/>
                <a:gd name="T15" fmla="*/ 1491 h 1523"/>
                <a:gd name="T16" fmla="*/ 175 w 347"/>
                <a:gd name="T17" fmla="*/ 1523 h 1523"/>
                <a:gd name="T18" fmla="*/ 205 w 347"/>
                <a:gd name="T19" fmla="*/ 1491 h 1523"/>
                <a:gd name="T20" fmla="*/ 205 w 347"/>
                <a:gd name="T21" fmla="*/ 115 h 1523"/>
                <a:gd name="T22" fmla="*/ 206 w 347"/>
                <a:gd name="T23" fmla="*/ 115 h 1523"/>
                <a:gd name="T24" fmla="*/ 285 w 347"/>
                <a:gd name="T25" fmla="*/ 195 h 1523"/>
                <a:gd name="T26" fmla="*/ 309 w 347"/>
                <a:gd name="T27" fmla="*/ 205 h 1523"/>
                <a:gd name="T28" fmla="*/ 334 w 347"/>
                <a:gd name="T29" fmla="*/ 195 h 1523"/>
                <a:gd name="T30" fmla="*/ 334 w 347"/>
                <a:gd name="T31" fmla="*/ 147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7" h="1523">
                  <a:moveTo>
                    <a:pt x="334" y="147"/>
                  </a:moveTo>
                  <a:cubicBezTo>
                    <a:pt x="201" y="13"/>
                    <a:pt x="201" y="13"/>
                    <a:pt x="201" y="13"/>
                  </a:cubicBezTo>
                  <a:cubicBezTo>
                    <a:pt x="187" y="0"/>
                    <a:pt x="166" y="0"/>
                    <a:pt x="152" y="13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0" y="158"/>
                    <a:pt x="0" y="180"/>
                    <a:pt x="13" y="194"/>
                  </a:cubicBezTo>
                  <a:cubicBezTo>
                    <a:pt x="26" y="208"/>
                    <a:pt x="48" y="208"/>
                    <a:pt x="61" y="195"/>
                  </a:cubicBezTo>
                  <a:cubicBezTo>
                    <a:pt x="146" y="116"/>
                    <a:pt x="146" y="116"/>
                    <a:pt x="146" y="116"/>
                  </a:cubicBezTo>
                  <a:cubicBezTo>
                    <a:pt x="146" y="1491"/>
                    <a:pt x="146" y="1491"/>
                    <a:pt x="146" y="1491"/>
                  </a:cubicBezTo>
                  <a:cubicBezTo>
                    <a:pt x="146" y="1509"/>
                    <a:pt x="158" y="1523"/>
                    <a:pt x="175" y="1523"/>
                  </a:cubicBezTo>
                  <a:cubicBezTo>
                    <a:pt x="194" y="1523"/>
                    <a:pt x="205" y="1509"/>
                    <a:pt x="205" y="1491"/>
                  </a:cubicBezTo>
                  <a:cubicBezTo>
                    <a:pt x="205" y="115"/>
                    <a:pt x="205" y="115"/>
                    <a:pt x="205" y="115"/>
                  </a:cubicBezTo>
                  <a:cubicBezTo>
                    <a:pt x="206" y="115"/>
                    <a:pt x="206" y="115"/>
                    <a:pt x="206" y="115"/>
                  </a:cubicBezTo>
                  <a:cubicBezTo>
                    <a:pt x="285" y="195"/>
                    <a:pt x="285" y="195"/>
                    <a:pt x="285" y="195"/>
                  </a:cubicBezTo>
                  <a:cubicBezTo>
                    <a:pt x="292" y="202"/>
                    <a:pt x="301" y="205"/>
                    <a:pt x="309" y="205"/>
                  </a:cubicBezTo>
                  <a:cubicBezTo>
                    <a:pt x="318" y="205"/>
                    <a:pt x="327" y="202"/>
                    <a:pt x="334" y="195"/>
                  </a:cubicBezTo>
                  <a:cubicBezTo>
                    <a:pt x="347" y="182"/>
                    <a:pt x="347" y="160"/>
                    <a:pt x="334" y="1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86" name="Line 27"/>
            <p:cNvSpPr>
              <a:spLocks noChangeShapeType="1"/>
            </p:cNvSpPr>
            <p:nvPr userDrawn="1"/>
          </p:nvSpPr>
          <p:spPr bwMode="auto">
            <a:xfrm>
              <a:off x="5097631" y="2892424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87" name="Line 28"/>
            <p:cNvSpPr>
              <a:spLocks noChangeShapeType="1"/>
            </p:cNvSpPr>
            <p:nvPr userDrawn="1"/>
          </p:nvSpPr>
          <p:spPr bwMode="auto">
            <a:xfrm>
              <a:off x="5097631" y="2892424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88" name="Freeform 29"/>
            <p:cNvSpPr>
              <a:spLocks noEditPoints="1"/>
            </p:cNvSpPr>
            <p:nvPr userDrawn="1"/>
          </p:nvSpPr>
          <p:spPr bwMode="auto">
            <a:xfrm>
              <a:off x="6969293" y="2724149"/>
              <a:ext cx="203200" cy="203200"/>
            </a:xfrm>
            <a:custGeom>
              <a:avLst/>
              <a:gdLst>
                <a:gd name="T0" fmla="*/ 20 w 162"/>
                <a:gd name="T1" fmla="*/ 82 h 162"/>
                <a:gd name="T2" fmla="*/ 82 w 162"/>
                <a:gd name="T3" fmla="*/ 144 h 162"/>
                <a:gd name="T4" fmla="*/ 142 w 162"/>
                <a:gd name="T5" fmla="*/ 81 h 162"/>
                <a:gd name="T6" fmla="*/ 82 w 162"/>
                <a:gd name="T7" fmla="*/ 18 h 162"/>
                <a:gd name="T8" fmla="*/ 20 w 162"/>
                <a:gd name="T9" fmla="*/ 82 h 162"/>
                <a:gd name="T10" fmla="*/ 162 w 162"/>
                <a:gd name="T11" fmla="*/ 82 h 162"/>
                <a:gd name="T12" fmla="*/ 82 w 162"/>
                <a:gd name="T13" fmla="*/ 162 h 162"/>
                <a:gd name="T14" fmla="*/ 0 w 162"/>
                <a:gd name="T15" fmla="*/ 82 h 162"/>
                <a:gd name="T16" fmla="*/ 82 w 162"/>
                <a:gd name="T17" fmla="*/ 0 h 162"/>
                <a:gd name="T18" fmla="*/ 162 w 162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62">
                  <a:moveTo>
                    <a:pt x="20" y="82"/>
                  </a:moveTo>
                  <a:cubicBezTo>
                    <a:pt x="20" y="117"/>
                    <a:pt x="48" y="144"/>
                    <a:pt x="82" y="144"/>
                  </a:cubicBezTo>
                  <a:cubicBezTo>
                    <a:pt x="115" y="144"/>
                    <a:pt x="142" y="116"/>
                    <a:pt x="142" y="81"/>
                  </a:cubicBezTo>
                  <a:cubicBezTo>
                    <a:pt x="142" y="46"/>
                    <a:pt x="114" y="18"/>
                    <a:pt x="82" y="18"/>
                  </a:cubicBezTo>
                  <a:cubicBezTo>
                    <a:pt x="47" y="18"/>
                    <a:pt x="20" y="47"/>
                    <a:pt x="20" y="82"/>
                  </a:cubicBezTo>
                  <a:moveTo>
                    <a:pt x="162" y="82"/>
                  </a:moveTo>
                  <a:cubicBezTo>
                    <a:pt x="162" y="125"/>
                    <a:pt x="124" y="162"/>
                    <a:pt x="82" y="162"/>
                  </a:cubicBezTo>
                  <a:cubicBezTo>
                    <a:pt x="37" y="162"/>
                    <a:pt x="0" y="126"/>
                    <a:pt x="0" y="82"/>
                  </a:cubicBezTo>
                  <a:cubicBezTo>
                    <a:pt x="0" y="37"/>
                    <a:pt x="36" y="0"/>
                    <a:pt x="82" y="0"/>
                  </a:cubicBezTo>
                  <a:cubicBezTo>
                    <a:pt x="125" y="0"/>
                    <a:pt x="162" y="37"/>
                    <a:pt x="162" y="82"/>
                  </a:cubicBezTo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89" name="Freeform 30"/>
            <p:cNvSpPr>
              <a:spLocks noEditPoints="1"/>
            </p:cNvSpPr>
            <p:nvPr userDrawn="1"/>
          </p:nvSpPr>
          <p:spPr bwMode="auto">
            <a:xfrm>
              <a:off x="7212181" y="2724149"/>
              <a:ext cx="201613" cy="203200"/>
            </a:xfrm>
            <a:custGeom>
              <a:avLst/>
              <a:gdLst>
                <a:gd name="T0" fmla="*/ 19 w 161"/>
                <a:gd name="T1" fmla="*/ 82 h 162"/>
                <a:gd name="T2" fmla="*/ 81 w 161"/>
                <a:gd name="T3" fmla="*/ 144 h 162"/>
                <a:gd name="T4" fmla="*/ 141 w 161"/>
                <a:gd name="T5" fmla="*/ 81 h 162"/>
                <a:gd name="T6" fmla="*/ 81 w 161"/>
                <a:gd name="T7" fmla="*/ 18 h 162"/>
                <a:gd name="T8" fmla="*/ 19 w 161"/>
                <a:gd name="T9" fmla="*/ 82 h 162"/>
                <a:gd name="T10" fmla="*/ 161 w 161"/>
                <a:gd name="T11" fmla="*/ 82 h 162"/>
                <a:gd name="T12" fmla="*/ 81 w 161"/>
                <a:gd name="T13" fmla="*/ 162 h 162"/>
                <a:gd name="T14" fmla="*/ 0 w 161"/>
                <a:gd name="T15" fmla="*/ 82 h 162"/>
                <a:gd name="T16" fmla="*/ 81 w 161"/>
                <a:gd name="T17" fmla="*/ 0 h 162"/>
                <a:gd name="T18" fmla="*/ 161 w 161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19" y="82"/>
                  </a:moveTo>
                  <a:cubicBezTo>
                    <a:pt x="19" y="117"/>
                    <a:pt x="47" y="144"/>
                    <a:pt x="81" y="144"/>
                  </a:cubicBezTo>
                  <a:cubicBezTo>
                    <a:pt x="115" y="144"/>
                    <a:pt x="141" y="116"/>
                    <a:pt x="141" y="81"/>
                  </a:cubicBezTo>
                  <a:cubicBezTo>
                    <a:pt x="141" y="46"/>
                    <a:pt x="114" y="18"/>
                    <a:pt x="81" y="18"/>
                  </a:cubicBezTo>
                  <a:cubicBezTo>
                    <a:pt x="47" y="18"/>
                    <a:pt x="19" y="47"/>
                    <a:pt x="19" y="82"/>
                  </a:cubicBezTo>
                  <a:moveTo>
                    <a:pt x="161" y="82"/>
                  </a:moveTo>
                  <a:cubicBezTo>
                    <a:pt x="161" y="125"/>
                    <a:pt x="124" y="162"/>
                    <a:pt x="81" y="162"/>
                  </a:cubicBezTo>
                  <a:cubicBezTo>
                    <a:pt x="36" y="162"/>
                    <a:pt x="0" y="126"/>
                    <a:pt x="0" y="82"/>
                  </a:cubicBezTo>
                  <a:cubicBezTo>
                    <a:pt x="0" y="37"/>
                    <a:pt x="36" y="0"/>
                    <a:pt x="81" y="0"/>
                  </a:cubicBezTo>
                  <a:cubicBezTo>
                    <a:pt x="125" y="0"/>
                    <a:pt x="161" y="37"/>
                    <a:pt x="161" y="8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90" name="Freeform 31"/>
            <p:cNvSpPr>
              <a:spLocks noEditPoints="1"/>
            </p:cNvSpPr>
            <p:nvPr userDrawn="1"/>
          </p:nvSpPr>
          <p:spPr bwMode="auto">
            <a:xfrm>
              <a:off x="7453481" y="2724149"/>
              <a:ext cx="201613" cy="203200"/>
            </a:xfrm>
            <a:custGeom>
              <a:avLst/>
              <a:gdLst>
                <a:gd name="T0" fmla="*/ 20 w 161"/>
                <a:gd name="T1" fmla="*/ 82 h 162"/>
                <a:gd name="T2" fmla="*/ 81 w 161"/>
                <a:gd name="T3" fmla="*/ 144 h 162"/>
                <a:gd name="T4" fmla="*/ 141 w 161"/>
                <a:gd name="T5" fmla="*/ 81 h 162"/>
                <a:gd name="T6" fmla="*/ 81 w 161"/>
                <a:gd name="T7" fmla="*/ 18 h 162"/>
                <a:gd name="T8" fmla="*/ 20 w 161"/>
                <a:gd name="T9" fmla="*/ 82 h 162"/>
                <a:gd name="T10" fmla="*/ 161 w 161"/>
                <a:gd name="T11" fmla="*/ 82 h 162"/>
                <a:gd name="T12" fmla="*/ 81 w 161"/>
                <a:gd name="T13" fmla="*/ 162 h 162"/>
                <a:gd name="T14" fmla="*/ 0 w 161"/>
                <a:gd name="T15" fmla="*/ 82 h 162"/>
                <a:gd name="T16" fmla="*/ 81 w 161"/>
                <a:gd name="T17" fmla="*/ 0 h 162"/>
                <a:gd name="T18" fmla="*/ 161 w 161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20" y="82"/>
                  </a:moveTo>
                  <a:cubicBezTo>
                    <a:pt x="20" y="117"/>
                    <a:pt x="47" y="144"/>
                    <a:pt x="81" y="144"/>
                  </a:cubicBezTo>
                  <a:cubicBezTo>
                    <a:pt x="115" y="144"/>
                    <a:pt x="141" y="116"/>
                    <a:pt x="141" y="81"/>
                  </a:cubicBezTo>
                  <a:cubicBezTo>
                    <a:pt x="141" y="46"/>
                    <a:pt x="114" y="18"/>
                    <a:pt x="81" y="18"/>
                  </a:cubicBezTo>
                  <a:cubicBezTo>
                    <a:pt x="47" y="18"/>
                    <a:pt x="20" y="47"/>
                    <a:pt x="20" y="82"/>
                  </a:cubicBezTo>
                  <a:moveTo>
                    <a:pt x="161" y="82"/>
                  </a:moveTo>
                  <a:cubicBezTo>
                    <a:pt x="161" y="125"/>
                    <a:pt x="124" y="162"/>
                    <a:pt x="81" y="162"/>
                  </a:cubicBezTo>
                  <a:cubicBezTo>
                    <a:pt x="37" y="162"/>
                    <a:pt x="0" y="126"/>
                    <a:pt x="0" y="82"/>
                  </a:cubicBezTo>
                  <a:cubicBezTo>
                    <a:pt x="0" y="37"/>
                    <a:pt x="36" y="0"/>
                    <a:pt x="81" y="0"/>
                  </a:cubicBezTo>
                  <a:cubicBezTo>
                    <a:pt x="125" y="0"/>
                    <a:pt x="161" y="37"/>
                    <a:pt x="161" y="82"/>
                  </a:cubicBezTo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02000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8511" y="3978274"/>
            <a:ext cx="5851526" cy="589331"/>
          </a:xfrm>
        </p:spPr>
        <p:txBody>
          <a:bodyPr bIns="0"/>
          <a:lstStyle>
            <a:lvl1pPr marL="0" indent="0" algn="ctr">
              <a:lnSpc>
                <a:spcPct val="90000"/>
              </a:lnSpc>
              <a:spcBef>
                <a:spcPct val="10000"/>
              </a:spcBef>
              <a:buFontTx/>
              <a:buNone/>
              <a:defRPr lang="en-US" sz="1199" b="1" kern="1200" noProof="0" dirty="0" smtClean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668511" y="3421359"/>
            <a:ext cx="5851526" cy="556913"/>
          </a:xfrm>
        </p:spPr>
        <p:txBody>
          <a:bodyPr lIns="91440" anchor="b" anchorCtr="0"/>
          <a:lstStyle>
            <a:lvl1pPr algn="ctr">
              <a:defRPr lang="en-US" sz="2198" b="1" kern="1200" noProof="0" dirty="0" smtClean="0">
                <a:solidFill>
                  <a:schemeClr val="bg2"/>
                </a:solidFill>
                <a:latin typeface="+mj-lt"/>
                <a:ea typeface="MS PGothic" pitchFamily="34" charset="-128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grpSp>
        <p:nvGrpSpPr>
          <p:cNvPr id="57" name="Group 56"/>
          <p:cNvGrpSpPr/>
          <p:nvPr userDrawn="1"/>
        </p:nvGrpSpPr>
        <p:grpSpPr>
          <a:xfrm>
            <a:off x="2077508" y="872534"/>
            <a:ext cx="5235774" cy="1884521"/>
            <a:chOff x="2020888" y="1096963"/>
            <a:chExt cx="4794250" cy="1727201"/>
          </a:xfrm>
        </p:grpSpPr>
        <p:sp>
          <p:nvSpPr>
            <p:cNvPr id="58" name="Freeform 6"/>
            <p:cNvSpPr>
              <a:spLocks/>
            </p:cNvSpPr>
            <p:nvPr userDrawn="1"/>
          </p:nvSpPr>
          <p:spPr bwMode="auto">
            <a:xfrm>
              <a:off x="4418013" y="2632076"/>
              <a:ext cx="0" cy="158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59" name="Line 7"/>
            <p:cNvSpPr>
              <a:spLocks noChangeShapeType="1"/>
            </p:cNvSpPr>
            <p:nvPr userDrawn="1"/>
          </p:nvSpPr>
          <p:spPr bwMode="auto">
            <a:xfrm flipV="1">
              <a:off x="4418013" y="2632076"/>
              <a:ext cx="0" cy="158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60" name="Oval 8"/>
            <p:cNvSpPr>
              <a:spLocks noChangeArrowheads="1"/>
            </p:cNvSpPr>
            <p:nvPr userDrawn="1"/>
          </p:nvSpPr>
          <p:spPr bwMode="auto">
            <a:xfrm>
              <a:off x="4056063" y="1349376"/>
              <a:ext cx="73025" cy="74613"/>
            </a:xfrm>
            <a:prstGeom prst="ellipse">
              <a:avLst/>
            </a:prstGeom>
            <a:solidFill>
              <a:srgbClr val="69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61" name="Freeform 9"/>
            <p:cNvSpPr>
              <a:spLocks/>
            </p:cNvSpPr>
            <p:nvPr userDrawn="1"/>
          </p:nvSpPr>
          <p:spPr bwMode="auto">
            <a:xfrm>
              <a:off x="4011613" y="1430338"/>
              <a:ext cx="161925" cy="311150"/>
            </a:xfrm>
            <a:custGeom>
              <a:avLst/>
              <a:gdLst>
                <a:gd name="T0" fmla="*/ 157 w 157"/>
                <a:gd name="T1" fmla="*/ 41 h 305"/>
                <a:gd name="T2" fmla="*/ 114 w 157"/>
                <a:gd name="T3" fmla="*/ 0 h 305"/>
                <a:gd name="T4" fmla="*/ 43 w 157"/>
                <a:gd name="T5" fmla="*/ 0 h 305"/>
                <a:gd name="T6" fmla="*/ 0 w 157"/>
                <a:gd name="T7" fmla="*/ 41 h 305"/>
                <a:gd name="T8" fmla="*/ 0 w 157"/>
                <a:gd name="T9" fmla="*/ 41 h 305"/>
                <a:gd name="T10" fmla="*/ 0 w 157"/>
                <a:gd name="T11" fmla="*/ 128 h 305"/>
                <a:gd name="T12" fmla="*/ 12 w 157"/>
                <a:gd name="T13" fmla="*/ 141 h 305"/>
                <a:gd name="T14" fmla="*/ 24 w 157"/>
                <a:gd name="T15" fmla="*/ 128 h 305"/>
                <a:gd name="T16" fmla="*/ 24 w 157"/>
                <a:gd name="T17" fmla="*/ 44 h 305"/>
                <a:gd name="T18" fmla="*/ 37 w 157"/>
                <a:gd name="T19" fmla="*/ 44 h 305"/>
                <a:gd name="T20" fmla="*/ 37 w 157"/>
                <a:gd name="T21" fmla="*/ 133 h 305"/>
                <a:gd name="T22" fmla="*/ 37 w 157"/>
                <a:gd name="T23" fmla="*/ 146 h 305"/>
                <a:gd name="T24" fmla="*/ 37 w 157"/>
                <a:gd name="T25" fmla="*/ 286 h 305"/>
                <a:gd name="T26" fmla="*/ 54 w 157"/>
                <a:gd name="T27" fmla="*/ 305 h 305"/>
                <a:gd name="T28" fmla="*/ 70 w 157"/>
                <a:gd name="T29" fmla="*/ 286 h 305"/>
                <a:gd name="T30" fmla="*/ 70 w 157"/>
                <a:gd name="T31" fmla="*/ 146 h 305"/>
                <a:gd name="T32" fmla="*/ 86 w 157"/>
                <a:gd name="T33" fmla="*/ 146 h 305"/>
                <a:gd name="T34" fmla="*/ 86 w 157"/>
                <a:gd name="T35" fmla="*/ 286 h 305"/>
                <a:gd name="T36" fmla="*/ 103 w 157"/>
                <a:gd name="T37" fmla="*/ 305 h 305"/>
                <a:gd name="T38" fmla="*/ 120 w 157"/>
                <a:gd name="T39" fmla="*/ 286 h 305"/>
                <a:gd name="T40" fmla="*/ 120 w 157"/>
                <a:gd name="T41" fmla="*/ 146 h 305"/>
                <a:gd name="T42" fmla="*/ 120 w 157"/>
                <a:gd name="T43" fmla="*/ 133 h 305"/>
                <a:gd name="T44" fmla="*/ 120 w 157"/>
                <a:gd name="T45" fmla="*/ 44 h 305"/>
                <a:gd name="T46" fmla="*/ 132 w 157"/>
                <a:gd name="T47" fmla="*/ 44 h 305"/>
                <a:gd name="T48" fmla="*/ 132 w 157"/>
                <a:gd name="T49" fmla="*/ 128 h 305"/>
                <a:gd name="T50" fmla="*/ 144 w 157"/>
                <a:gd name="T51" fmla="*/ 141 h 305"/>
                <a:gd name="T52" fmla="*/ 157 w 157"/>
                <a:gd name="T53" fmla="*/ 128 h 305"/>
                <a:gd name="T54" fmla="*/ 157 w 157"/>
                <a:gd name="T55" fmla="*/ 41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57" h="305">
                  <a:moveTo>
                    <a:pt x="157" y="41"/>
                  </a:moveTo>
                  <a:cubicBezTo>
                    <a:pt x="156" y="18"/>
                    <a:pt x="137" y="0"/>
                    <a:pt x="11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19" y="0"/>
                    <a:pt x="0" y="18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5"/>
                    <a:pt x="5" y="141"/>
                    <a:pt x="12" y="141"/>
                  </a:cubicBezTo>
                  <a:cubicBezTo>
                    <a:pt x="19" y="141"/>
                    <a:pt x="24" y="135"/>
                    <a:pt x="24" y="128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133"/>
                    <a:pt x="37" y="133"/>
                    <a:pt x="37" y="133"/>
                  </a:cubicBezTo>
                  <a:cubicBezTo>
                    <a:pt x="37" y="146"/>
                    <a:pt x="37" y="146"/>
                    <a:pt x="37" y="146"/>
                  </a:cubicBezTo>
                  <a:cubicBezTo>
                    <a:pt x="37" y="286"/>
                    <a:pt x="37" y="286"/>
                    <a:pt x="37" y="286"/>
                  </a:cubicBezTo>
                  <a:cubicBezTo>
                    <a:pt x="37" y="297"/>
                    <a:pt x="45" y="305"/>
                    <a:pt x="54" y="305"/>
                  </a:cubicBezTo>
                  <a:cubicBezTo>
                    <a:pt x="63" y="305"/>
                    <a:pt x="70" y="297"/>
                    <a:pt x="70" y="286"/>
                  </a:cubicBezTo>
                  <a:cubicBezTo>
                    <a:pt x="70" y="146"/>
                    <a:pt x="70" y="146"/>
                    <a:pt x="70" y="146"/>
                  </a:cubicBezTo>
                  <a:cubicBezTo>
                    <a:pt x="86" y="146"/>
                    <a:pt x="86" y="146"/>
                    <a:pt x="86" y="146"/>
                  </a:cubicBezTo>
                  <a:cubicBezTo>
                    <a:pt x="86" y="286"/>
                    <a:pt x="86" y="286"/>
                    <a:pt x="86" y="286"/>
                  </a:cubicBezTo>
                  <a:cubicBezTo>
                    <a:pt x="86" y="297"/>
                    <a:pt x="94" y="305"/>
                    <a:pt x="103" y="305"/>
                  </a:cubicBezTo>
                  <a:cubicBezTo>
                    <a:pt x="112" y="305"/>
                    <a:pt x="120" y="297"/>
                    <a:pt x="120" y="286"/>
                  </a:cubicBezTo>
                  <a:cubicBezTo>
                    <a:pt x="120" y="146"/>
                    <a:pt x="120" y="146"/>
                    <a:pt x="120" y="146"/>
                  </a:cubicBezTo>
                  <a:cubicBezTo>
                    <a:pt x="120" y="133"/>
                    <a:pt x="120" y="133"/>
                    <a:pt x="120" y="133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32" y="44"/>
                    <a:pt x="132" y="44"/>
                    <a:pt x="132" y="44"/>
                  </a:cubicBezTo>
                  <a:cubicBezTo>
                    <a:pt x="132" y="128"/>
                    <a:pt x="132" y="128"/>
                    <a:pt x="132" y="128"/>
                  </a:cubicBezTo>
                  <a:cubicBezTo>
                    <a:pt x="132" y="135"/>
                    <a:pt x="138" y="141"/>
                    <a:pt x="144" y="141"/>
                  </a:cubicBezTo>
                  <a:cubicBezTo>
                    <a:pt x="151" y="141"/>
                    <a:pt x="157" y="135"/>
                    <a:pt x="157" y="128"/>
                  </a:cubicBezTo>
                  <a:cubicBezTo>
                    <a:pt x="157" y="41"/>
                    <a:pt x="157" y="41"/>
                    <a:pt x="157" y="41"/>
                  </a:cubicBezTo>
                  <a:close/>
                </a:path>
              </a:pathLst>
            </a:custGeom>
            <a:solidFill>
              <a:srgbClr val="69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62" name="Freeform 10"/>
            <p:cNvSpPr>
              <a:spLocks/>
            </p:cNvSpPr>
            <p:nvPr userDrawn="1"/>
          </p:nvSpPr>
          <p:spPr bwMode="auto">
            <a:xfrm>
              <a:off x="4179888" y="1427163"/>
              <a:ext cx="173038" cy="315913"/>
            </a:xfrm>
            <a:custGeom>
              <a:avLst/>
              <a:gdLst>
                <a:gd name="T0" fmla="*/ 168 w 169"/>
                <a:gd name="T1" fmla="*/ 137 h 309"/>
                <a:gd name="T2" fmla="*/ 155 w 169"/>
                <a:gd name="T3" fmla="*/ 41 h 309"/>
                <a:gd name="T4" fmla="*/ 155 w 169"/>
                <a:gd name="T5" fmla="*/ 41 h 309"/>
                <a:gd name="T6" fmla="*/ 154 w 169"/>
                <a:gd name="T7" fmla="*/ 38 h 309"/>
                <a:gd name="T8" fmla="*/ 154 w 169"/>
                <a:gd name="T9" fmla="*/ 37 h 309"/>
                <a:gd name="T10" fmla="*/ 153 w 169"/>
                <a:gd name="T11" fmla="*/ 26 h 309"/>
                <a:gd name="T12" fmla="*/ 153 w 169"/>
                <a:gd name="T13" fmla="*/ 26 h 309"/>
                <a:gd name="T14" fmla="*/ 153 w 169"/>
                <a:gd name="T15" fmla="*/ 26 h 309"/>
                <a:gd name="T16" fmla="*/ 119 w 169"/>
                <a:gd name="T17" fmla="*/ 0 h 309"/>
                <a:gd name="T18" fmla="*/ 51 w 169"/>
                <a:gd name="T19" fmla="*/ 0 h 309"/>
                <a:gd name="T20" fmla="*/ 17 w 169"/>
                <a:gd name="T21" fmla="*/ 26 h 309"/>
                <a:gd name="T22" fmla="*/ 17 w 169"/>
                <a:gd name="T23" fmla="*/ 26 h 309"/>
                <a:gd name="T24" fmla="*/ 17 w 169"/>
                <a:gd name="T25" fmla="*/ 26 h 309"/>
                <a:gd name="T26" fmla="*/ 15 w 169"/>
                <a:gd name="T27" fmla="*/ 37 h 309"/>
                <a:gd name="T28" fmla="*/ 15 w 169"/>
                <a:gd name="T29" fmla="*/ 38 h 309"/>
                <a:gd name="T30" fmla="*/ 15 w 169"/>
                <a:gd name="T31" fmla="*/ 41 h 309"/>
                <a:gd name="T32" fmla="*/ 15 w 169"/>
                <a:gd name="T33" fmla="*/ 41 h 309"/>
                <a:gd name="T34" fmla="*/ 1 w 169"/>
                <a:gd name="T35" fmla="*/ 137 h 309"/>
                <a:gd name="T36" fmla="*/ 11 w 169"/>
                <a:gd name="T37" fmla="*/ 150 h 309"/>
                <a:gd name="T38" fmla="*/ 24 w 169"/>
                <a:gd name="T39" fmla="*/ 140 h 309"/>
                <a:gd name="T40" fmla="*/ 38 w 169"/>
                <a:gd name="T41" fmla="*/ 42 h 309"/>
                <a:gd name="T42" fmla="*/ 49 w 169"/>
                <a:gd name="T43" fmla="*/ 42 h 309"/>
                <a:gd name="T44" fmla="*/ 32 w 169"/>
                <a:gd name="T45" fmla="*/ 179 h 309"/>
                <a:gd name="T46" fmla="*/ 45 w 169"/>
                <a:gd name="T47" fmla="*/ 179 h 309"/>
                <a:gd name="T48" fmla="*/ 45 w 169"/>
                <a:gd name="T49" fmla="*/ 291 h 309"/>
                <a:gd name="T50" fmla="*/ 61 w 169"/>
                <a:gd name="T51" fmla="*/ 309 h 309"/>
                <a:gd name="T52" fmla="*/ 61 w 169"/>
                <a:gd name="T53" fmla="*/ 309 h 309"/>
                <a:gd name="T54" fmla="*/ 61 w 169"/>
                <a:gd name="T55" fmla="*/ 309 h 309"/>
                <a:gd name="T56" fmla="*/ 77 w 169"/>
                <a:gd name="T57" fmla="*/ 291 h 309"/>
                <a:gd name="T58" fmla="*/ 77 w 169"/>
                <a:gd name="T59" fmla="*/ 179 h 309"/>
                <a:gd name="T60" fmla="*/ 92 w 169"/>
                <a:gd name="T61" fmla="*/ 179 h 309"/>
                <a:gd name="T62" fmla="*/ 92 w 169"/>
                <a:gd name="T63" fmla="*/ 291 h 309"/>
                <a:gd name="T64" fmla="*/ 108 w 169"/>
                <a:gd name="T65" fmla="*/ 309 h 309"/>
                <a:gd name="T66" fmla="*/ 108 w 169"/>
                <a:gd name="T67" fmla="*/ 309 h 309"/>
                <a:gd name="T68" fmla="*/ 108 w 169"/>
                <a:gd name="T69" fmla="*/ 309 h 309"/>
                <a:gd name="T70" fmla="*/ 124 w 169"/>
                <a:gd name="T71" fmla="*/ 291 h 309"/>
                <a:gd name="T72" fmla="*/ 124 w 169"/>
                <a:gd name="T73" fmla="*/ 179 h 309"/>
                <a:gd name="T74" fmla="*/ 138 w 169"/>
                <a:gd name="T75" fmla="*/ 179 h 309"/>
                <a:gd name="T76" fmla="*/ 121 w 169"/>
                <a:gd name="T77" fmla="*/ 43 h 309"/>
                <a:gd name="T78" fmla="*/ 121 w 169"/>
                <a:gd name="T79" fmla="*/ 42 h 309"/>
                <a:gd name="T80" fmla="*/ 131 w 169"/>
                <a:gd name="T81" fmla="*/ 42 h 309"/>
                <a:gd name="T82" fmla="*/ 145 w 169"/>
                <a:gd name="T83" fmla="*/ 140 h 309"/>
                <a:gd name="T84" fmla="*/ 158 w 169"/>
                <a:gd name="T85" fmla="*/ 150 h 309"/>
                <a:gd name="T86" fmla="*/ 168 w 169"/>
                <a:gd name="T87" fmla="*/ 1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9" h="309">
                  <a:moveTo>
                    <a:pt x="168" y="137"/>
                  </a:moveTo>
                  <a:cubicBezTo>
                    <a:pt x="155" y="41"/>
                    <a:pt x="155" y="41"/>
                    <a:pt x="155" y="41"/>
                  </a:cubicBezTo>
                  <a:cubicBezTo>
                    <a:pt x="155" y="41"/>
                    <a:pt x="155" y="41"/>
                    <a:pt x="155" y="41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7"/>
                    <a:pt x="154" y="37"/>
                    <a:pt x="154" y="37"/>
                  </a:cubicBezTo>
                  <a:cubicBezTo>
                    <a:pt x="154" y="33"/>
                    <a:pt x="154" y="30"/>
                    <a:pt x="153" y="26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48" y="11"/>
                    <a:pt x="135" y="1"/>
                    <a:pt x="119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34" y="1"/>
                    <a:pt x="21" y="11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6" y="30"/>
                    <a:pt x="15" y="33"/>
                    <a:pt x="15" y="37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43"/>
                    <a:pt x="5" y="149"/>
                    <a:pt x="11" y="150"/>
                  </a:cubicBezTo>
                  <a:cubicBezTo>
                    <a:pt x="17" y="151"/>
                    <a:pt x="23" y="147"/>
                    <a:pt x="24" y="140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32" y="179"/>
                    <a:pt x="32" y="179"/>
                    <a:pt x="32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45" y="301"/>
                    <a:pt x="52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70" y="309"/>
                    <a:pt x="77" y="301"/>
                    <a:pt x="77" y="291"/>
                  </a:cubicBezTo>
                  <a:cubicBezTo>
                    <a:pt x="77" y="179"/>
                    <a:pt x="77" y="179"/>
                    <a:pt x="77" y="179"/>
                  </a:cubicBezTo>
                  <a:cubicBezTo>
                    <a:pt x="92" y="179"/>
                    <a:pt x="92" y="179"/>
                    <a:pt x="92" y="179"/>
                  </a:cubicBezTo>
                  <a:cubicBezTo>
                    <a:pt x="92" y="291"/>
                    <a:pt x="92" y="291"/>
                    <a:pt x="92" y="291"/>
                  </a:cubicBezTo>
                  <a:cubicBezTo>
                    <a:pt x="92" y="301"/>
                    <a:pt x="99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17" y="309"/>
                    <a:pt x="124" y="301"/>
                    <a:pt x="124" y="291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38" y="179"/>
                    <a:pt x="138" y="179"/>
                    <a:pt x="138" y="179"/>
                  </a:cubicBezTo>
                  <a:cubicBezTo>
                    <a:pt x="121" y="43"/>
                    <a:pt x="121" y="43"/>
                    <a:pt x="121" y="43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7"/>
                    <a:pt x="152" y="151"/>
                    <a:pt x="158" y="150"/>
                  </a:cubicBezTo>
                  <a:cubicBezTo>
                    <a:pt x="165" y="149"/>
                    <a:pt x="169" y="143"/>
                    <a:pt x="168" y="137"/>
                  </a:cubicBezTo>
                </a:path>
              </a:pathLst>
            </a:custGeom>
            <a:solidFill>
              <a:srgbClr val="AC29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63" name="Freeform 11"/>
            <p:cNvSpPr>
              <a:spLocks/>
            </p:cNvSpPr>
            <p:nvPr userDrawn="1"/>
          </p:nvSpPr>
          <p:spPr bwMode="auto">
            <a:xfrm>
              <a:off x="4230688" y="1349376"/>
              <a:ext cx="71438" cy="71438"/>
            </a:xfrm>
            <a:custGeom>
              <a:avLst/>
              <a:gdLst>
                <a:gd name="T0" fmla="*/ 35 w 69"/>
                <a:gd name="T1" fmla="*/ 69 h 69"/>
                <a:gd name="T2" fmla="*/ 35 w 69"/>
                <a:gd name="T3" fmla="*/ 69 h 69"/>
                <a:gd name="T4" fmla="*/ 35 w 69"/>
                <a:gd name="T5" fmla="*/ 69 h 69"/>
                <a:gd name="T6" fmla="*/ 69 w 69"/>
                <a:gd name="T7" fmla="*/ 34 h 69"/>
                <a:gd name="T8" fmla="*/ 35 w 69"/>
                <a:gd name="T9" fmla="*/ 0 h 69"/>
                <a:gd name="T10" fmla="*/ 35 w 69"/>
                <a:gd name="T11" fmla="*/ 0 h 69"/>
                <a:gd name="T12" fmla="*/ 35 w 69"/>
                <a:gd name="T13" fmla="*/ 0 h 69"/>
                <a:gd name="T14" fmla="*/ 0 w 69"/>
                <a:gd name="T15" fmla="*/ 34 h 69"/>
                <a:gd name="T16" fmla="*/ 35 w 69"/>
                <a:gd name="T1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69">
                  <a:moveTo>
                    <a:pt x="35" y="69"/>
                  </a:moveTo>
                  <a:cubicBezTo>
                    <a:pt x="35" y="69"/>
                    <a:pt x="35" y="69"/>
                    <a:pt x="35" y="69"/>
                  </a:cubicBezTo>
                  <a:cubicBezTo>
                    <a:pt x="35" y="69"/>
                    <a:pt x="35" y="69"/>
                    <a:pt x="35" y="69"/>
                  </a:cubicBezTo>
                  <a:cubicBezTo>
                    <a:pt x="54" y="69"/>
                    <a:pt x="69" y="53"/>
                    <a:pt x="69" y="34"/>
                  </a:cubicBezTo>
                  <a:cubicBezTo>
                    <a:pt x="69" y="15"/>
                    <a:pt x="54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16" y="0"/>
                    <a:pt x="0" y="15"/>
                    <a:pt x="0" y="34"/>
                  </a:cubicBezTo>
                  <a:cubicBezTo>
                    <a:pt x="0" y="53"/>
                    <a:pt x="16" y="69"/>
                    <a:pt x="35" y="69"/>
                  </a:cubicBezTo>
                </a:path>
              </a:pathLst>
            </a:custGeom>
            <a:solidFill>
              <a:srgbClr val="AC29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64" name="Freeform 12"/>
            <p:cNvSpPr>
              <a:spLocks/>
            </p:cNvSpPr>
            <p:nvPr userDrawn="1"/>
          </p:nvSpPr>
          <p:spPr bwMode="auto">
            <a:xfrm>
              <a:off x="3830638" y="1427163"/>
              <a:ext cx="173038" cy="315913"/>
            </a:xfrm>
            <a:custGeom>
              <a:avLst/>
              <a:gdLst>
                <a:gd name="T0" fmla="*/ 168 w 169"/>
                <a:gd name="T1" fmla="*/ 137 h 309"/>
                <a:gd name="T2" fmla="*/ 155 w 169"/>
                <a:gd name="T3" fmla="*/ 41 h 309"/>
                <a:gd name="T4" fmla="*/ 155 w 169"/>
                <a:gd name="T5" fmla="*/ 41 h 309"/>
                <a:gd name="T6" fmla="*/ 154 w 169"/>
                <a:gd name="T7" fmla="*/ 38 h 309"/>
                <a:gd name="T8" fmla="*/ 154 w 169"/>
                <a:gd name="T9" fmla="*/ 37 h 309"/>
                <a:gd name="T10" fmla="*/ 153 w 169"/>
                <a:gd name="T11" fmla="*/ 26 h 309"/>
                <a:gd name="T12" fmla="*/ 153 w 169"/>
                <a:gd name="T13" fmla="*/ 26 h 309"/>
                <a:gd name="T14" fmla="*/ 153 w 169"/>
                <a:gd name="T15" fmla="*/ 26 h 309"/>
                <a:gd name="T16" fmla="*/ 119 w 169"/>
                <a:gd name="T17" fmla="*/ 0 h 309"/>
                <a:gd name="T18" fmla="*/ 119 w 169"/>
                <a:gd name="T19" fmla="*/ 0 h 309"/>
                <a:gd name="T20" fmla="*/ 51 w 169"/>
                <a:gd name="T21" fmla="*/ 0 h 309"/>
                <a:gd name="T22" fmla="*/ 17 w 169"/>
                <a:gd name="T23" fmla="*/ 26 h 309"/>
                <a:gd name="T24" fmla="*/ 17 w 169"/>
                <a:gd name="T25" fmla="*/ 26 h 309"/>
                <a:gd name="T26" fmla="*/ 17 w 169"/>
                <a:gd name="T27" fmla="*/ 26 h 309"/>
                <a:gd name="T28" fmla="*/ 15 w 169"/>
                <a:gd name="T29" fmla="*/ 37 h 309"/>
                <a:gd name="T30" fmla="*/ 15 w 169"/>
                <a:gd name="T31" fmla="*/ 38 h 309"/>
                <a:gd name="T32" fmla="*/ 15 w 169"/>
                <a:gd name="T33" fmla="*/ 41 h 309"/>
                <a:gd name="T34" fmla="*/ 15 w 169"/>
                <a:gd name="T35" fmla="*/ 41 h 309"/>
                <a:gd name="T36" fmla="*/ 1 w 169"/>
                <a:gd name="T37" fmla="*/ 137 h 309"/>
                <a:gd name="T38" fmla="*/ 11 w 169"/>
                <a:gd name="T39" fmla="*/ 150 h 309"/>
                <a:gd name="T40" fmla="*/ 24 w 169"/>
                <a:gd name="T41" fmla="*/ 140 h 309"/>
                <a:gd name="T42" fmla="*/ 38 w 169"/>
                <a:gd name="T43" fmla="*/ 42 h 309"/>
                <a:gd name="T44" fmla="*/ 49 w 169"/>
                <a:gd name="T45" fmla="*/ 42 h 309"/>
                <a:gd name="T46" fmla="*/ 32 w 169"/>
                <a:gd name="T47" fmla="*/ 179 h 309"/>
                <a:gd name="T48" fmla="*/ 45 w 169"/>
                <a:gd name="T49" fmla="*/ 179 h 309"/>
                <a:gd name="T50" fmla="*/ 45 w 169"/>
                <a:gd name="T51" fmla="*/ 291 h 309"/>
                <a:gd name="T52" fmla="*/ 61 w 169"/>
                <a:gd name="T53" fmla="*/ 309 h 309"/>
                <a:gd name="T54" fmla="*/ 61 w 169"/>
                <a:gd name="T55" fmla="*/ 309 h 309"/>
                <a:gd name="T56" fmla="*/ 61 w 169"/>
                <a:gd name="T57" fmla="*/ 309 h 309"/>
                <a:gd name="T58" fmla="*/ 77 w 169"/>
                <a:gd name="T59" fmla="*/ 291 h 309"/>
                <a:gd name="T60" fmla="*/ 77 w 169"/>
                <a:gd name="T61" fmla="*/ 179 h 309"/>
                <a:gd name="T62" fmla="*/ 92 w 169"/>
                <a:gd name="T63" fmla="*/ 179 h 309"/>
                <a:gd name="T64" fmla="*/ 92 w 169"/>
                <a:gd name="T65" fmla="*/ 291 h 309"/>
                <a:gd name="T66" fmla="*/ 108 w 169"/>
                <a:gd name="T67" fmla="*/ 309 h 309"/>
                <a:gd name="T68" fmla="*/ 108 w 169"/>
                <a:gd name="T69" fmla="*/ 309 h 309"/>
                <a:gd name="T70" fmla="*/ 108 w 169"/>
                <a:gd name="T71" fmla="*/ 309 h 309"/>
                <a:gd name="T72" fmla="*/ 124 w 169"/>
                <a:gd name="T73" fmla="*/ 291 h 309"/>
                <a:gd name="T74" fmla="*/ 124 w 169"/>
                <a:gd name="T75" fmla="*/ 179 h 309"/>
                <a:gd name="T76" fmla="*/ 138 w 169"/>
                <a:gd name="T77" fmla="*/ 179 h 309"/>
                <a:gd name="T78" fmla="*/ 121 w 169"/>
                <a:gd name="T79" fmla="*/ 43 h 309"/>
                <a:gd name="T80" fmla="*/ 121 w 169"/>
                <a:gd name="T81" fmla="*/ 42 h 309"/>
                <a:gd name="T82" fmla="*/ 131 w 169"/>
                <a:gd name="T83" fmla="*/ 42 h 309"/>
                <a:gd name="T84" fmla="*/ 145 w 169"/>
                <a:gd name="T85" fmla="*/ 140 h 309"/>
                <a:gd name="T86" fmla="*/ 158 w 169"/>
                <a:gd name="T87" fmla="*/ 150 h 309"/>
                <a:gd name="T88" fmla="*/ 168 w 169"/>
                <a:gd name="T89" fmla="*/ 1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9" h="309">
                  <a:moveTo>
                    <a:pt x="168" y="137"/>
                  </a:moveTo>
                  <a:cubicBezTo>
                    <a:pt x="155" y="41"/>
                    <a:pt x="155" y="41"/>
                    <a:pt x="155" y="41"/>
                  </a:cubicBezTo>
                  <a:cubicBezTo>
                    <a:pt x="155" y="41"/>
                    <a:pt x="155" y="41"/>
                    <a:pt x="155" y="41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7"/>
                    <a:pt x="154" y="37"/>
                    <a:pt x="154" y="37"/>
                  </a:cubicBezTo>
                  <a:cubicBezTo>
                    <a:pt x="154" y="33"/>
                    <a:pt x="154" y="30"/>
                    <a:pt x="153" y="26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49" y="11"/>
                    <a:pt x="136" y="1"/>
                    <a:pt x="119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34" y="1"/>
                    <a:pt x="21" y="11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6" y="30"/>
                    <a:pt x="15" y="33"/>
                    <a:pt x="15" y="37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43"/>
                    <a:pt x="5" y="149"/>
                    <a:pt x="11" y="150"/>
                  </a:cubicBezTo>
                  <a:cubicBezTo>
                    <a:pt x="18" y="151"/>
                    <a:pt x="23" y="147"/>
                    <a:pt x="24" y="140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32" y="179"/>
                    <a:pt x="32" y="179"/>
                    <a:pt x="32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45" y="301"/>
                    <a:pt x="52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70" y="309"/>
                    <a:pt x="77" y="301"/>
                    <a:pt x="77" y="291"/>
                  </a:cubicBezTo>
                  <a:cubicBezTo>
                    <a:pt x="77" y="179"/>
                    <a:pt x="77" y="179"/>
                    <a:pt x="77" y="179"/>
                  </a:cubicBezTo>
                  <a:cubicBezTo>
                    <a:pt x="92" y="179"/>
                    <a:pt x="92" y="179"/>
                    <a:pt x="92" y="179"/>
                  </a:cubicBezTo>
                  <a:cubicBezTo>
                    <a:pt x="92" y="291"/>
                    <a:pt x="92" y="291"/>
                    <a:pt x="92" y="291"/>
                  </a:cubicBezTo>
                  <a:cubicBezTo>
                    <a:pt x="92" y="301"/>
                    <a:pt x="99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17" y="309"/>
                    <a:pt x="124" y="301"/>
                    <a:pt x="124" y="291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38" y="179"/>
                    <a:pt x="138" y="179"/>
                    <a:pt x="138" y="179"/>
                  </a:cubicBezTo>
                  <a:cubicBezTo>
                    <a:pt x="121" y="43"/>
                    <a:pt x="121" y="43"/>
                    <a:pt x="121" y="43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7"/>
                    <a:pt x="152" y="151"/>
                    <a:pt x="158" y="150"/>
                  </a:cubicBezTo>
                  <a:cubicBezTo>
                    <a:pt x="165" y="149"/>
                    <a:pt x="169" y="143"/>
                    <a:pt x="168" y="137"/>
                  </a:cubicBezTo>
                </a:path>
              </a:pathLst>
            </a:custGeom>
            <a:solidFill>
              <a:srgbClr val="EE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65" name="Freeform 13"/>
            <p:cNvSpPr>
              <a:spLocks/>
            </p:cNvSpPr>
            <p:nvPr userDrawn="1"/>
          </p:nvSpPr>
          <p:spPr bwMode="auto">
            <a:xfrm>
              <a:off x="3883026" y="1349376"/>
              <a:ext cx="69850" cy="71438"/>
            </a:xfrm>
            <a:custGeom>
              <a:avLst/>
              <a:gdLst>
                <a:gd name="T0" fmla="*/ 35 w 69"/>
                <a:gd name="T1" fmla="*/ 69 h 69"/>
                <a:gd name="T2" fmla="*/ 35 w 69"/>
                <a:gd name="T3" fmla="*/ 69 h 69"/>
                <a:gd name="T4" fmla="*/ 35 w 69"/>
                <a:gd name="T5" fmla="*/ 69 h 69"/>
                <a:gd name="T6" fmla="*/ 69 w 69"/>
                <a:gd name="T7" fmla="*/ 34 h 69"/>
                <a:gd name="T8" fmla="*/ 35 w 69"/>
                <a:gd name="T9" fmla="*/ 0 h 69"/>
                <a:gd name="T10" fmla="*/ 35 w 69"/>
                <a:gd name="T11" fmla="*/ 0 h 69"/>
                <a:gd name="T12" fmla="*/ 35 w 69"/>
                <a:gd name="T13" fmla="*/ 0 h 69"/>
                <a:gd name="T14" fmla="*/ 0 w 69"/>
                <a:gd name="T15" fmla="*/ 34 h 69"/>
                <a:gd name="T16" fmla="*/ 35 w 69"/>
                <a:gd name="T1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69">
                  <a:moveTo>
                    <a:pt x="35" y="69"/>
                  </a:moveTo>
                  <a:cubicBezTo>
                    <a:pt x="35" y="69"/>
                    <a:pt x="35" y="69"/>
                    <a:pt x="35" y="69"/>
                  </a:cubicBezTo>
                  <a:cubicBezTo>
                    <a:pt x="35" y="69"/>
                    <a:pt x="35" y="69"/>
                    <a:pt x="35" y="69"/>
                  </a:cubicBezTo>
                  <a:cubicBezTo>
                    <a:pt x="54" y="69"/>
                    <a:pt x="69" y="53"/>
                    <a:pt x="69" y="34"/>
                  </a:cubicBezTo>
                  <a:cubicBezTo>
                    <a:pt x="69" y="15"/>
                    <a:pt x="54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16" y="0"/>
                    <a:pt x="0" y="15"/>
                    <a:pt x="0" y="34"/>
                  </a:cubicBezTo>
                  <a:cubicBezTo>
                    <a:pt x="0" y="53"/>
                    <a:pt x="16" y="69"/>
                    <a:pt x="35" y="69"/>
                  </a:cubicBezTo>
                </a:path>
              </a:pathLst>
            </a:custGeom>
            <a:solidFill>
              <a:srgbClr val="EE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66" name="Freeform 14"/>
            <p:cNvSpPr>
              <a:spLocks/>
            </p:cNvSpPr>
            <p:nvPr userDrawn="1"/>
          </p:nvSpPr>
          <p:spPr bwMode="auto">
            <a:xfrm>
              <a:off x="2020888" y="2165351"/>
              <a:ext cx="493713" cy="658813"/>
            </a:xfrm>
            <a:custGeom>
              <a:avLst/>
              <a:gdLst>
                <a:gd name="T0" fmla="*/ 482 w 482"/>
                <a:gd name="T1" fmla="*/ 242 h 645"/>
                <a:gd name="T2" fmla="*/ 242 w 482"/>
                <a:gd name="T3" fmla="*/ 485 h 645"/>
                <a:gd name="T4" fmla="*/ 97 w 482"/>
                <a:gd name="T5" fmla="*/ 436 h 645"/>
                <a:gd name="T6" fmla="*/ 97 w 482"/>
                <a:gd name="T7" fmla="*/ 356 h 645"/>
                <a:gd name="T8" fmla="*/ 242 w 482"/>
                <a:gd name="T9" fmla="*/ 425 h 645"/>
                <a:gd name="T10" fmla="*/ 423 w 482"/>
                <a:gd name="T11" fmla="*/ 242 h 645"/>
                <a:gd name="T12" fmla="*/ 242 w 482"/>
                <a:gd name="T13" fmla="*/ 59 h 645"/>
                <a:gd name="T14" fmla="*/ 59 w 482"/>
                <a:gd name="T15" fmla="*/ 245 h 645"/>
                <a:gd name="T16" fmla="*/ 59 w 482"/>
                <a:gd name="T17" fmla="*/ 615 h 645"/>
                <a:gd name="T18" fmla="*/ 30 w 482"/>
                <a:gd name="T19" fmla="*/ 645 h 645"/>
                <a:gd name="T20" fmla="*/ 0 w 482"/>
                <a:gd name="T21" fmla="*/ 616 h 645"/>
                <a:gd name="T22" fmla="*/ 0 w 482"/>
                <a:gd name="T23" fmla="*/ 242 h 645"/>
                <a:gd name="T24" fmla="*/ 242 w 482"/>
                <a:gd name="T25" fmla="*/ 0 h 645"/>
                <a:gd name="T26" fmla="*/ 482 w 482"/>
                <a:gd name="T27" fmla="*/ 242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2" h="645">
                  <a:moveTo>
                    <a:pt x="482" y="242"/>
                  </a:moveTo>
                  <a:cubicBezTo>
                    <a:pt x="482" y="377"/>
                    <a:pt x="377" y="485"/>
                    <a:pt x="242" y="485"/>
                  </a:cubicBezTo>
                  <a:cubicBezTo>
                    <a:pt x="187" y="485"/>
                    <a:pt x="139" y="467"/>
                    <a:pt x="97" y="436"/>
                  </a:cubicBezTo>
                  <a:cubicBezTo>
                    <a:pt x="97" y="356"/>
                    <a:pt x="97" y="356"/>
                    <a:pt x="97" y="356"/>
                  </a:cubicBezTo>
                  <a:cubicBezTo>
                    <a:pt x="133" y="401"/>
                    <a:pt x="184" y="425"/>
                    <a:pt x="242" y="425"/>
                  </a:cubicBezTo>
                  <a:cubicBezTo>
                    <a:pt x="344" y="425"/>
                    <a:pt x="423" y="343"/>
                    <a:pt x="423" y="242"/>
                  </a:cubicBezTo>
                  <a:cubicBezTo>
                    <a:pt x="423" y="141"/>
                    <a:pt x="342" y="59"/>
                    <a:pt x="242" y="59"/>
                  </a:cubicBezTo>
                  <a:cubicBezTo>
                    <a:pt x="141" y="59"/>
                    <a:pt x="59" y="141"/>
                    <a:pt x="59" y="245"/>
                  </a:cubicBezTo>
                  <a:cubicBezTo>
                    <a:pt x="59" y="615"/>
                    <a:pt x="59" y="615"/>
                    <a:pt x="59" y="615"/>
                  </a:cubicBezTo>
                  <a:cubicBezTo>
                    <a:pt x="59" y="632"/>
                    <a:pt x="46" y="645"/>
                    <a:pt x="30" y="645"/>
                  </a:cubicBezTo>
                  <a:cubicBezTo>
                    <a:pt x="13" y="645"/>
                    <a:pt x="0" y="632"/>
                    <a:pt x="0" y="616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0" y="108"/>
                    <a:pt x="108" y="0"/>
                    <a:pt x="242" y="0"/>
                  </a:cubicBezTo>
                  <a:cubicBezTo>
                    <a:pt x="375" y="0"/>
                    <a:pt x="482" y="108"/>
                    <a:pt x="482" y="242"/>
                  </a:cubicBez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67" name="Freeform 15"/>
            <p:cNvSpPr>
              <a:spLocks noEditPoints="1"/>
            </p:cNvSpPr>
            <p:nvPr userDrawn="1"/>
          </p:nvSpPr>
          <p:spPr bwMode="auto">
            <a:xfrm>
              <a:off x="2560638" y="2165351"/>
              <a:ext cx="495300" cy="495300"/>
            </a:xfrm>
            <a:custGeom>
              <a:avLst/>
              <a:gdLst>
                <a:gd name="T0" fmla="*/ 242 w 484"/>
                <a:gd name="T1" fmla="*/ 0 h 485"/>
                <a:gd name="T2" fmla="*/ 484 w 484"/>
                <a:gd name="T3" fmla="*/ 242 h 485"/>
                <a:gd name="T4" fmla="*/ 242 w 484"/>
                <a:gd name="T5" fmla="*/ 485 h 485"/>
                <a:gd name="T6" fmla="*/ 0 w 484"/>
                <a:gd name="T7" fmla="*/ 242 h 485"/>
                <a:gd name="T8" fmla="*/ 242 w 484"/>
                <a:gd name="T9" fmla="*/ 0 h 485"/>
                <a:gd name="T10" fmla="*/ 242 w 484"/>
                <a:gd name="T11" fmla="*/ 425 h 485"/>
                <a:gd name="T12" fmla="*/ 425 w 484"/>
                <a:gd name="T13" fmla="*/ 242 h 485"/>
                <a:gd name="T14" fmla="*/ 242 w 484"/>
                <a:gd name="T15" fmla="*/ 58 h 485"/>
                <a:gd name="T16" fmla="*/ 60 w 484"/>
                <a:gd name="T17" fmla="*/ 242 h 485"/>
                <a:gd name="T18" fmla="*/ 242 w 484"/>
                <a:gd name="T19" fmla="*/ 425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4" h="485">
                  <a:moveTo>
                    <a:pt x="242" y="0"/>
                  </a:moveTo>
                  <a:cubicBezTo>
                    <a:pt x="377" y="0"/>
                    <a:pt x="484" y="108"/>
                    <a:pt x="484" y="242"/>
                  </a:cubicBezTo>
                  <a:cubicBezTo>
                    <a:pt x="484" y="377"/>
                    <a:pt x="377" y="485"/>
                    <a:pt x="242" y="485"/>
                  </a:cubicBezTo>
                  <a:cubicBezTo>
                    <a:pt x="107" y="485"/>
                    <a:pt x="0" y="377"/>
                    <a:pt x="0" y="242"/>
                  </a:cubicBezTo>
                  <a:cubicBezTo>
                    <a:pt x="0" y="108"/>
                    <a:pt x="107" y="0"/>
                    <a:pt x="242" y="0"/>
                  </a:cubicBezTo>
                  <a:close/>
                  <a:moveTo>
                    <a:pt x="242" y="425"/>
                  </a:moveTo>
                  <a:cubicBezTo>
                    <a:pt x="344" y="425"/>
                    <a:pt x="425" y="344"/>
                    <a:pt x="425" y="242"/>
                  </a:cubicBezTo>
                  <a:cubicBezTo>
                    <a:pt x="425" y="140"/>
                    <a:pt x="344" y="58"/>
                    <a:pt x="242" y="58"/>
                  </a:cubicBezTo>
                  <a:cubicBezTo>
                    <a:pt x="140" y="58"/>
                    <a:pt x="60" y="140"/>
                    <a:pt x="60" y="242"/>
                  </a:cubicBezTo>
                  <a:cubicBezTo>
                    <a:pt x="60" y="344"/>
                    <a:pt x="140" y="425"/>
                    <a:pt x="242" y="425"/>
                  </a:cubicBez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68" name="Freeform 16"/>
            <p:cNvSpPr>
              <a:spLocks/>
            </p:cNvSpPr>
            <p:nvPr userDrawn="1"/>
          </p:nvSpPr>
          <p:spPr bwMode="auto">
            <a:xfrm>
              <a:off x="3087688" y="2165351"/>
              <a:ext cx="296863" cy="495300"/>
            </a:xfrm>
            <a:custGeom>
              <a:avLst/>
              <a:gdLst>
                <a:gd name="T0" fmla="*/ 248 w 291"/>
                <a:gd name="T1" fmla="*/ 120 h 485"/>
                <a:gd name="T2" fmla="*/ 213 w 291"/>
                <a:gd name="T3" fmla="*/ 98 h 485"/>
                <a:gd name="T4" fmla="*/ 143 w 291"/>
                <a:gd name="T5" fmla="*/ 57 h 485"/>
                <a:gd name="T6" fmla="*/ 75 w 291"/>
                <a:gd name="T7" fmla="*/ 122 h 485"/>
                <a:gd name="T8" fmla="*/ 156 w 291"/>
                <a:gd name="T9" fmla="*/ 200 h 485"/>
                <a:gd name="T10" fmla="*/ 238 w 291"/>
                <a:gd name="T11" fmla="*/ 238 h 485"/>
                <a:gd name="T12" fmla="*/ 291 w 291"/>
                <a:gd name="T13" fmla="*/ 340 h 485"/>
                <a:gd name="T14" fmla="*/ 146 w 291"/>
                <a:gd name="T15" fmla="*/ 485 h 485"/>
                <a:gd name="T16" fmla="*/ 1 w 291"/>
                <a:gd name="T17" fmla="*/ 362 h 485"/>
                <a:gd name="T18" fmla="*/ 0 w 291"/>
                <a:gd name="T19" fmla="*/ 353 h 485"/>
                <a:gd name="T20" fmla="*/ 30 w 291"/>
                <a:gd name="T21" fmla="*/ 322 h 485"/>
                <a:gd name="T22" fmla="*/ 62 w 291"/>
                <a:gd name="T23" fmla="*/ 351 h 485"/>
                <a:gd name="T24" fmla="*/ 147 w 291"/>
                <a:gd name="T25" fmla="*/ 427 h 485"/>
                <a:gd name="T26" fmla="*/ 230 w 291"/>
                <a:gd name="T27" fmla="*/ 350 h 485"/>
                <a:gd name="T28" fmla="*/ 138 w 291"/>
                <a:gd name="T29" fmla="*/ 257 h 485"/>
                <a:gd name="T30" fmla="*/ 13 w 291"/>
                <a:gd name="T31" fmla="*/ 127 h 485"/>
                <a:gd name="T32" fmla="*/ 147 w 291"/>
                <a:gd name="T33" fmla="*/ 0 h 485"/>
                <a:gd name="T34" fmla="*/ 272 w 291"/>
                <a:gd name="T35" fmla="*/ 89 h 485"/>
                <a:gd name="T36" fmla="*/ 248 w 291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1" h="485">
                  <a:moveTo>
                    <a:pt x="248" y="120"/>
                  </a:moveTo>
                  <a:cubicBezTo>
                    <a:pt x="233" y="122"/>
                    <a:pt x="221" y="115"/>
                    <a:pt x="213" y="98"/>
                  </a:cubicBezTo>
                  <a:cubicBezTo>
                    <a:pt x="201" y="70"/>
                    <a:pt x="176" y="57"/>
                    <a:pt x="143" y="57"/>
                  </a:cubicBezTo>
                  <a:cubicBezTo>
                    <a:pt x="105" y="57"/>
                    <a:pt x="75" y="89"/>
                    <a:pt x="75" y="122"/>
                  </a:cubicBezTo>
                  <a:cubicBezTo>
                    <a:pt x="75" y="158"/>
                    <a:pt x="96" y="179"/>
                    <a:pt x="156" y="200"/>
                  </a:cubicBezTo>
                  <a:cubicBezTo>
                    <a:pt x="184" y="210"/>
                    <a:pt x="217" y="223"/>
                    <a:pt x="238" y="238"/>
                  </a:cubicBezTo>
                  <a:cubicBezTo>
                    <a:pt x="274" y="264"/>
                    <a:pt x="291" y="297"/>
                    <a:pt x="291" y="340"/>
                  </a:cubicBezTo>
                  <a:cubicBezTo>
                    <a:pt x="291" y="428"/>
                    <a:pt x="231" y="485"/>
                    <a:pt x="146" y="485"/>
                  </a:cubicBezTo>
                  <a:cubicBezTo>
                    <a:pt x="67" y="485"/>
                    <a:pt x="19" y="435"/>
                    <a:pt x="1" y="362"/>
                  </a:cubicBezTo>
                  <a:cubicBezTo>
                    <a:pt x="0" y="358"/>
                    <a:pt x="0" y="356"/>
                    <a:pt x="0" y="353"/>
                  </a:cubicBezTo>
                  <a:cubicBezTo>
                    <a:pt x="0" y="333"/>
                    <a:pt x="13" y="322"/>
                    <a:pt x="30" y="322"/>
                  </a:cubicBezTo>
                  <a:cubicBezTo>
                    <a:pt x="48" y="322"/>
                    <a:pt x="59" y="334"/>
                    <a:pt x="62" y="351"/>
                  </a:cubicBezTo>
                  <a:cubicBezTo>
                    <a:pt x="69" y="395"/>
                    <a:pt x="105" y="427"/>
                    <a:pt x="147" y="427"/>
                  </a:cubicBezTo>
                  <a:cubicBezTo>
                    <a:pt x="191" y="427"/>
                    <a:pt x="230" y="392"/>
                    <a:pt x="230" y="350"/>
                  </a:cubicBezTo>
                  <a:cubicBezTo>
                    <a:pt x="230" y="308"/>
                    <a:pt x="204" y="279"/>
                    <a:pt x="138" y="257"/>
                  </a:cubicBezTo>
                  <a:cubicBezTo>
                    <a:pt x="46" y="225"/>
                    <a:pt x="13" y="190"/>
                    <a:pt x="13" y="127"/>
                  </a:cubicBezTo>
                  <a:cubicBezTo>
                    <a:pt x="13" y="54"/>
                    <a:pt x="71" y="0"/>
                    <a:pt x="147" y="0"/>
                  </a:cubicBezTo>
                  <a:cubicBezTo>
                    <a:pt x="215" y="0"/>
                    <a:pt x="272" y="47"/>
                    <a:pt x="272" y="89"/>
                  </a:cubicBezTo>
                  <a:cubicBezTo>
                    <a:pt x="272" y="103"/>
                    <a:pt x="265" y="117"/>
                    <a:pt x="248" y="120"/>
                  </a:cubicBez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69" name="Freeform 17"/>
            <p:cNvSpPr>
              <a:spLocks/>
            </p:cNvSpPr>
            <p:nvPr userDrawn="1"/>
          </p:nvSpPr>
          <p:spPr bwMode="auto">
            <a:xfrm>
              <a:off x="3430588" y="2165351"/>
              <a:ext cx="296863" cy="495300"/>
            </a:xfrm>
            <a:custGeom>
              <a:avLst/>
              <a:gdLst>
                <a:gd name="T0" fmla="*/ 248 w 291"/>
                <a:gd name="T1" fmla="*/ 120 h 485"/>
                <a:gd name="T2" fmla="*/ 214 w 291"/>
                <a:gd name="T3" fmla="*/ 98 h 485"/>
                <a:gd name="T4" fmla="*/ 143 w 291"/>
                <a:gd name="T5" fmla="*/ 57 h 485"/>
                <a:gd name="T6" fmla="*/ 76 w 291"/>
                <a:gd name="T7" fmla="*/ 122 h 485"/>
                <a:gd name="T8" fmla="*/ 157 w 291"/>
                <a:gd name="T9" fmla="*/ 200 h 485"/>
                <a:gd name="T10" fmla="*/ 239 w 291"/>
                <a:gd name="T11" fmla="*/ 238 h 485"/>
                <a:gd name="T12" fmla="*/ 291 w 291"/>
                <a:gd name="T13" fmla="*/ 340 h 485"/>
                <a:gd name="T14" fmla="*/ 146 w 291"/>
                <a:gd name="T15" fmla="*/ 485 h 485"/>
                <a:gd name="T16" fmla="*/ 1 w 291"/>
                <a:gd name="T17" fmla="*/ 362 h 485"/>
                <a:gd name="T18" fmla="*/ 0 w 291"/>
                <a:gd name="T19" fmla="*/ 353 h 485"/>
                <a:gd name="T20" fmla="*/ 30 w 291"/>
                <a:gd name="T21" fmla="*/ 322 h 485"/>
                <a:gd name="T22" fmla="*/ 62 w 291"/>
                <a:gd name="T23" fmla="*/ 351 h 485"/>
                <a:gd name="T24" fmla="*/ 148 w 291"/>
                <a:gd name="T25" fmla="*/ 427 h 485"/>
                <a:gd name="T26" fmla="*/ 230 w 291"/>
                <a:gd name="T27" fmla="*/ 350 h 485"/>
                <a:gd name="T28" fmla="*/ 138 w 291"/>
                <a:gd name="T29" fmla="*/ 257 h 485"/>
                <a:gd name="T30" fmla="*/ 14 w 291"/>
                <a:gd name="T31" fmla="*/ 127 h 485"/>
                <a:gd name="T32" fmla="*/ 148 w 291"/>
                <a:gd name="T33" fmla="*/ 0 h 485"/>
                <a:gd name="T34" fmla="*/ 272 w 291"/>
                <a:gd name="T35" fmla="*/ 89 h 485"/>
                <a:gd name="T36" fmla="*/ 248 w 291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1" h="485">
                  <a:moveTo>
                    <a:pt x="248" y="120"/>
                  </a:moveTo>
                  <a:cubicBezTo>
                    <a:pt x="233" y="122"/>
                    <a:pt x="221" y="115"/>
                    <a:pt x="214" y="98"/>
                  </a:cubicBezTo>
                  <a:cubicBezTo>
                    <a:pt x="201" y="70"/>
                    <a:pt x="176" y="57"/>
                    <a:pt x="143" y="57"/>
                  </a:cubicBezTo>
                  <a:cubicBezTo>
                    <a:pt x="106" y="57"/>
                    <a:pt x="76" y="89"/>
                    <a:pt x="76" y="122"/>
                  </a:cubicBezTo>
                  <a:cubicBezTo>
                    <a:pt x="76" y="158"/>
                    <a:pt x="97" y="179"/>
                    <a:pt x="157" y="200"/>
                  </a:cubicBezTo>
                  <a:cubicBezTo>
                    <a:pt x="184" y="210"/>
                    <a:pt x="217" y="223"/>
                    <a:pt x="239" y="238"/>
                  </a:cubicBezTo>
                  <a:cubicBezTo>
                    <a:pt x="275" y="264"/>
                    <a:pt x="291" y="297"/>
                    <a:pt x="291" y="340"/>
                  </a:cubicBezTo>
                  <a:cubicBezTo>
                    <a:pt x="291" y="428"/>
                    <a:pt x="231" y="485"/>
                    <a:pt x="146" y="485"/>
                  </a:cubicBezTo>
                  <a:cubicBezTo>
                    <a:pt x="67" y="485"/>
                    <a:pt x="20" y="435"/>
                    <a:pt x="1" y="362"/>
                  </a:cubicBezTo>
                  <a:cubicBezTo>
                    <a:pt x="0" y="358"/>
                    <a:pt x="0" y="356"/>
                    <a:pt x="0" y="353"/>
                  </a:cubicBezTo>
                  <a:cubicBezTo>
                    <a:pt x="0" y="333"/>
                    <a:pt x="14" y="322"/>
                    <a:pt x="30" y="322"/>
                  </a:cubicBezTo>
                  <a:cubicBezTo>
                    <a:pt x="48" y="322"/>
                    <a:pt x="59" y="334"/>
                    <a:pt x="62" y="351"/>
                  </a:cubicBezTo>
                  <a:cubicBezTo>
                    <a:pt x="70" y="395"/>
                    <a:pt x="106" y="427"/>
                    <a:pt x="148" y="427"/>
                  </a:cubicBezTo>
                  <a:cubicBezTo>
                    <a:pt x="191" y="427"/>
                    <a:pt x="230" y="392"/>
                    <a:pt x="230" y="350"/>
                  </a:cubicBezTo>
                  <a:cubicBezTo>
                    <a:pt x="230" y="308"/>
                    <a:pt x="204" y="279"/>
                    <a:pt x="138" y="257"/>
                  </a:cubicBezTo>
                  <a:cubicBezTo>
                    <a:pt x="46" y="225"/>
                    <a:pt x="14" y="190"/>
                    <a:pt x="14" y="127"/>
                  </a:cubicBezTo>
                  <a:cubicBezTo>
                    <a:pt x="14" y="54"/>
                    <a:pt x="71" y="0"/>
                    <a:pt x="148" y="0"/>
                  </a:cubicBezTo>
                  <a:cubicBezTo>
                    <a:pt x="215" y="0"/>
                    <a:pt x="272" y="47"/>
                    <a:pt x="272" y="89"/>
                  </a:cubicBezTo>
                  <a:cubicBezTo>
                    <a:pt x="272" y="103"/>
                    <a:pt x="265" y="117"/>
                    <a:pt x="248" y="120"/>
                  </a:cubicBez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70" name="Freeform 18"/>
            <p:cNvSpPr>
              <a:spLocks noEditPoints="1"/>
            </p:cNvSpPr>
            <p:nvPr userDrawn="1"/>
          </p:nvSpPr>
          <p:spPr bwMode="auto">
            <a:xfrm>
              <a:off x="3784601" y="2033588"/>
              <a:ext cx="84138" cy="623888"/>
            </a:xfrm>
            <a:custGeom>
              <a:avLst/>
              <a:gdLst>
                <a:gd name="T0" fmla="*/ 41 w 83"/>
                <a:gd name="T1" fmla="*/ 0 h 609"/>
                <a:gd name="T2" fmla="*/ 83 w 83"/>
                <a:gd name="T3" fmla="*/ 42 h 609"/>
                <a:gd name="T4" fmla="*/ 41 w 83"/>
                <a:gd name="T5" fmla="*/ 83 h 609"/>
                <a:gd name="T6" fmla="*/ 0 w 83"/>
                <a:gd name="T7" fmla="*/ 42 h 609"/>
                <a:gd name="T8" fmla="*/ 41 w 83"/>
                <a:gd name="T9" fmla="*/ 0 h 609"/>
                <a:gd name="T10" fmla="*/ 71 w 83"/>
                <a:gd name="T11" fmla="*/ 582 h 609"/>
                <a:gd name="T12" fmla="*/ 41 w 83"/>
                <a:gd name="T13" fmla="*/ 609 h 609"/>
                <a:gd name="T14" fmla="*/ 11 w 83"/>
                <a:gd name="T15" fmla="*/ 582 h 609"/>
                <a:gd name="T16" fmla="*/ 11 w 83"/>
                <a:gd name="T17" fmla="*/ 139 h 609"/>
                <a:gd name="T18" fmla="*/ 71 w 83"/>
                <a:gd name="T19" fmla="*/ 139 h 609"/>
                <a:gd name="T20" fmla="*/ 71 w 83"/>
                <a:gd name="T21" fmla="*/ 582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" h="609">
                  <a:moveTo>
                    <a:pt x="41" y="0"/>
                  </a:moveTo>
                  <a:cubicBezTo>
                    <a:pt x="65" y="0"/>
                    <a:pt x="83" y="18"/>
                    <a:pt x="83" y="42"/>
                  </a:cubicBezTo>
                  <a:cubicBezTo>
                    <a:pt x="83" y="65"/>
                    <a:pt x="65" y="83"/>
                    <a:pt x="41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1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6" y="609"/>
                    <a:pt x="41" y="609"/>
                  </a:cubicBezTo>
                  <a:cubicBezTo>
                    <a:pt x="25" y="609"/>
                    <a:pt x="11" y="596"/>
                    <a:pt x="11" y="582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71" name="Freeform 19"/>
            <p:cNvSpPr>
              <a:spLocks noEditPoints="1"/>
            </p:cNvSpPr>
            <p:nvPr userDrawn="1"/>
          </p:nvSpPr>
          <p:spPr bwMode="auto">
            <a:xfrm>
              <a:off x="4491038" y="2033588"/>
              <a:ext cx="85725" cy="623888"/>
            </a:xfrm>
            <a:custGeom>
              <a:avLst/>
              <a:gdLst>
                <a:gd name="T0" fmla="*/ 42 w 84"/>
                <a:gd name="T1" fmla="*/ 0 h 609"/>
                <a:gd name="T2" fmla="*/ 84 w 84"/>
                <a:gd name="T3" fmla="*/ 42 h 609"/>
                <a:gd name="T4" fmla="*/ 42 w 84"/>
                <a:gd name="T5" fmla="*/ 83 h 609"/>
                <a:gd name="T6" fmla="*/ 0 w 84"/>
                <a:gd name="T7" fmla="*/ 42 h 609"/>
                <a:gd name="T8" fmla="*/ 42 w 84"/>
                <a:gd name="T9" fmla="*/ 0 h 609"/>
                <a:gd name="T10" fmla="*/ 71 w 84"/>
                <a:gd name="T11" fmla="*/ 582 h 609"/>
                <a:gd name="T12" fmla="*/ 42 w 84"/>
                <a:gd name="T13" fmla="*/ 609 h 609"/>
                <a:gd name="T14" fmla="*/ 12 w 84"/>
                <a:gd name="T15" fmla="*/ 582 h 609"/>
                <a:gd name="T16" fmla="*/ 12 w 84"/>
                <a:gd name="T17" fmla="*/ 139 h 609"/>
                <a:gd name="T18" fmla="*/ 71 w 84"/>
                <a:gd name="T19" fmla="*/ 139 h 609"/>
                <a:gd name="T20" fmla="*/ 71 w 84"/>
                <a:gd name="T21" fmla="*/ 582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09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09"/>
                    <a:pt x="42" y="609"/>
                  </a:cubicBezTo>
                  <a:cubicBezTo>
                    <a:pt x="25" y="609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72" name="Freeform 20"/>
            <p:cNvSpPr>
              <a:spLocks noEditPoints="1"/>
            </p:cNvSpPr>
            <p:nvPr userDrawn="1"/>
          </p:nvSpPr>
          <p:spPr bwMode="auto">
            <a:xfrm>
              <a:off x="4806951" y="2033588"/>
              <a:ext cx="85725" cy="623888"/>
            </a:xfrm>
            <a:custGeom>
              <a:avLst/>
              <a:gdLst>
                <a:gd name="T0" fmla="*/ 42 w 84"/>
                <a:gd name="T1" fmla="*/ 0 h 609"/>
                <a:gd name="T2" fmla="*/ 84 w 84"/>
                <a:gd name="T3" fmla="*/ 42 h 609"/>
                <a:gd name="T4" fmla="*/ 42 w 84"/>
                <a:gd name="T5" fmla="*/ 83 h 609"/>
                <a:gd name="T6" fmla="*/ 0 w 84"/>
                <a:gd name="T7" fmla="*/ 42 h 609"/>
                <a:gd name="T8" fmla="*/ 42 w 84"/>
                <a:gd name="T9" fmla="*/ 0 h 609"/>
                <a:gd name="T10" fmla="*/ 71 w 84"/>
                <a:gd name="T11" fmla="*/ 582 h 609"/>
                <a:gd name="T12" fmla="*/ 42 w 84"/>
                <a:gd name="T13" fmla="*/ 609 h 609"/>
                <a:gd name="T14" fmla="*/ 12 w 84"/>
                <a:gd name="T15" fmla="*/ 582 h 609"/>
                <a:gd name="T16" fmla="*/ 12 w 84"/>
                <a:gd name="T17" fmla="*/ 139 h 609"/>
                <a:gd name="T18" fmla="*/ 71 w 84"/>
                <a:gd name="T19" fmla="*/ 139 h 609"/>
                <a:gd name="T20" fmla="*/ 71 w 84"/>
                <a:gd name="T21" fmla="*/ 582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09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09"/>
                    <a:pt x="42" y="609"/>
                  </a:cubicBezTo>
                  <a:cubicBezTo>
                    <a:pt x="25" y="609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73" name="Freeform 21"/>
            <p:cNvSpPr>
              <a:spLocks/>
            </p:cNvSpPr>
            <p:nvPr userDrawn="1"/>
          </p:nvSpPr>
          <p:spPr bwMode="auto">
            <a:xfrm>
              <a:off x="4945063" y="1997076"/>
              <a:ext cx="269875" cy="658813"/>
            </a:xfrm>
            <a:custGeom>
              <a:avLst/>
              <a:gdLst>
                <a:gd name="T0" fmla="*/ 161 w 264"/>
                <a:gd name="T1" fmla="*/ 175 h 644"/>
                <a:gd name="T2" fmla="*/ 264 w 264"/>
                <a:gd name="T3" fmla="*/ 175 h 644"/>
                <a:gd name="T4" fmla="*/ 264 w 264"/>
                <a:gd name="T5" fmla="*/ 233 h 644"/>
                <a:gd name="T6" fmla="*/ 161 w 264"/>
                <a:gd name="T7" fmla="*/ 233 h 644"/>
                <a:gd name="T8" fmla="*/ 161 w 264"/>
                <a:gd name="T9" fmla="*/ 612 h 644"/>
                <a:gd name="T10" fmla="*/ 132 w 264"/>
                <a:gd name="T11" fmla="*/ 644 h 644"/>
                <a:gd name="T12" fmla="*/ 102 w 264"/>
                <a:gd name="T13" fmla="*/ 612 h 644"/>
                <a:gd name="T14" fmla="*/ 102 w 264"/>
                <a:gd name="T15" fmla="*/ 233 h 644"/>
                <a:gd name="T16" fmla="*/ 0 w 264"/>
                <a:gd name="T17" fmla="*/ 233 h 644"/>
                <a:gd name="T18" fmla="*/ 0 w 264"/>
                <a:gd name="T19" fmla="*/ 175 h 644"/>
                <a:gd name="T20" fmla="*/ 102 w 264"/>
                <a:gd name="T21" fmla="*/ 175 h 644"/>
                <a:gd name="T22" fmla="*/ 102 w 264"/>
                <a:gd name="T23" fmla="*/ 32 h 644"/>
                <a:gd name="T24" fmla="*/ 132 w 264"/>
                <a:gd name="T25" fmla="*/ 0 h 644"/>
                <a:gd name="T26" fmla="*/ 161 w 264"/>
                <a:gd name="T27" fmla="*/ 32 h 644"/>
                <a:gd name="T28" fmla="*/ 161 w 264"/>
                <a:gd name="T29" fmla="*/ 175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4" h="644">
                  <a:moveTo>
                    <a:pt x="161" y="175"/>
                  </a:moveTo>
                  <a:cubicBezTo>
                    <a:pt x="264" y="175"/>
                    <a:pt x="264" y="175"/>
                    <a:pt x="264" y="175"/>
                  </a:cubicBezTo>
                  <a:cubicBezTo>
                    <a:pt x="264" y="233"/>
                    <a:pt x="264" y="233"/>
                    <a:pt x="264" y="233"/>
                  </a:cubicBezTo>
                  <a:cubicBezTo>
                    <a:pt x="161" y="233"/>
                    <a:pt x="161" y="233"/>
                    <a:pt x="161" y="233"/>
                  </a:cubicBezTo>
                  <a:cubicBezTo>
                    <a:pt x="161" y="612"/>
                    <a:pt x="161" y="612"/>
                    <a:pt x="161" y="612"/>
                  </a:cubicBezTo>
                  <a:cubicBezTo>
                    <a:pt x="161" y="630"/>
                    <a:pt x="149" y="644"/>
                    <a:pt x="132" y="644"/>
                  </a:cubicBezTo>
                  <a:cubicBezTo>
                    <a:pt x="114" y="644"/>
                    <a:pt x="102" y="630"/>
                    <a:pt x="102" y="612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102" y="175"/>
                    <a:pt x="102" y="175"/>
                    <a:pt x="102" y="175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14"/>
                    <a:pt x="114" y="0"/>
                    <a:pt x="132" y="0"/>
                  </a:cubicBezTo>
                  <a:cubicBezTo>
                    <a:pt x="149" y="0"/>
                    <a:pt x="161" y="14"/>
                    <a:pt x="161" y="32"/>
                  </a:cubicBezTo>
                  <a:lnTo>
                    <a:pt x="161" y="175"/>
                  </a:ln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74" name="Freeform 22"/>
            <p:cNvSpPr>
              <a:spLocks noEditPoints="1"/>
            </p:cNvSpPr>
            <p:nvPr userDrawn="1"/>
          </p:nvSpPr>
          <p:spPr bwMode="auto">
            <a:xfrm>
              <a:off x="5264151" y="2033588"/>
              <a:ext cx="87313" cy="623888"/>
            </a:xfrm>
            <a:custGeom>
              <a:avLst/>
              <a:gdLst>
                <a:gd name="T0" fmla="*/ 42 w 84"/>
                <a:gd name="T1" fmla="*/ 0 h 609"/>
                <a:gd name="T2" fmla="*/ 84 w 84"/>
                <a:gd name="T3" fmla="*/ 42 h 609"/>
                <a:gd name="T4" fmla="*/ 42 w 84"/>
                <a:gd name="T5" fmla="*/ 83 h 609"/>
                <a:gd name="T6" fmla="*/ 0 w 84"/>
                <a:gd name="T7" fmla="*/ 42 h 609"/>
                <a:gd name="T8" fmla="*/ 42 w 84"/>
                <a:gd name="T9" fmla="*/ 0 h 609"/>
                <a:gd name="T10" fmla="*/ 71 w 84"/>
                <a:gd name="T11" fmla="*/ 582 h 609"/>
                <a:gd name="T12" fmla="*/ 42 w 84"/>
                <a:gd name="T13" fmla="*/ 609 h 609"/>
                <a:gd name="T14" fmla="*/ 12 w 84"/>
                <a:gd name="T15" fmla="*/ 582 h 609"/>
                <a:gd name="T16" fmla="*/ 12 w 84"/>
                <a:gd name="T17" fmla="*/ 139 h 609"/>
                <a:gd name="T18" fmla="*/ 71 w 84"/>
                <a:gd name="T19" fmla="*/ 139 h 609"/>
                <a:gd name="T20" fmla="*/ 71 w 84"/>
                <a:gd name="T21" fmla="*/ 582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09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09"/>
                    <a:pt x="42" y="609"/>
                  </a:cubicBezTo>
                  <a:cubicBezTo>
                    <a:pt x="25" y="609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75" name="Freeform 23"/>
            <p:cNvSpPr>
              <a:spLocks/>
            </p:cNvSpPr>
            <p:nvPr userDrawn="1"/>
          </p:nvSpPr>
          <p:spPr bwMode="auto">
            <a:xfrm>
              <a:off x="5405438" y="2165351"/>
              <a:ext cx="490538" cy="495300"/>
            </a:xfrm>
            <a:custGeom>
              <a:avLst/>
              <a:gdLst>
                <a:gd name="T0" fmla="*/ 139 w 478"/>
                <a:gd name="T1" fmla="*/ 205 h 484"/>
                <a:gd name="T2" fmla="*/ 412 w 478"/>
                <a:gd name="T3" fmla="*/ 205 h 484"/>
                <a:gd name="T4" fmla="*/ 239 w 478"/>
                <a:gd name="T5" fmla="*/ 56 h 484"/>
                <a:gd name="T6" fmla="*/ 60 w 478"/>
                <a:gd name="T7" fmla="*/ 237 h 484"/>
                <a:gd name="T8" fmla="*/ 238 w 478"/>
                <a:gd name="T9" fmla="*/ 424 h 484"/>
                <a:gd name="T10" fmla="*/ 396 w 478"/>
                <a:gd name="T11" fmla="*/ 335 h 484"/>
                <a:gd name="T12" fmla="*/ 426 w 478"/>
                <a:gd name="T13" fmla="*/ 318 h 484"/>
                <a:gd name="T14" fmla="*/ 455 w 478"/>
                <a:gd name="T15" fmla="*/ 349 h 484"/>
                <a:gd name="T16" fmla="*/ 448 w 478"/>
                <a:gd name="T17" fmla="*/ 369 h 484"/>
                <a:gd name="T18" fmla="*/ 449 w 478"/>
                <a:gd name="T19" fmla="*/ 369 h 484"/>
                <a:gd name="T20" fmla="*/ 238 w 478"/>
                <a:gd name="T21" fmla="*/ 484 h 484"/>
                <a:gd name="T22" fmla="*/ 0 w 478"/>
                <a:gd name="T23" fmla="*/ 242 h 484"/>
                <a:gd name="T24" fmla="*/ 238 w 478"/>
                <a:gd name="T25" fmla="*/ 0 h 484"/>
                <a:gd name="T26" fmla="*/ 478 w 478"/>
                <a:gd name="T27" fmla="*/ 235 h 484"/>
                <a:gd name="T28" fmla="*/ 448 w 478"/>
                <a:gd name="T29" fmla="*/ 265 h 484"/>
                <a:gd name="T30" fmla="*/ 139 w 478"/>
                <a:gd name="T31" fmla="*/ 265 h 484"/>
                <a:gd name="T32" fmla="*/ 111 w 478"/>
                <a:gd name="T33" fmla="*/ 236 h 484"/>
                <a:gd name="T34" fmla="*/ 139 w 478"/>
                <a:gd name="T35" fmla="*/ 205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8" h="484">
                  <a:moveTo>
                    <a:pt x="139" y="205"/>
                  </a:moveTo>
                  <a:cubicBezTo>
                    <a:pt x="412" y="205"/>
                    <a:pt x="412" y="205"/>
                    <a:pt x="412" y="205"/>
                  </a:cubicBezTo>
                  <a:cubicBezTo>
                    <a:pt x="398" y="117"/>
                    <a:pt x="323" y="56"/>
                    <a:pt x="239" y="56"/>
                  </a:cubicBezTo>
                  <a:cubicBezTo>
                    <a:pt x="146" y="56"/>
                    <a:pt x="60" y="135"/>
                    <a:pt x="60" y="237"/>
                  </a:cubicBezTo>
                  <a:cubicBezTo>
                    <a:pt x="60" y="336"/>
                    <a:pt x="131" y="420"/>
                    <a:pt x="238" y="424"/>
                  </a:cubicBezTo>
                  <a:cubicBezTo>
                    <a:pt x="299" y="427"/>
                    <a:pt x="361" y="392"/>
                    <a:pt x="396" y="335"/>
                  </a:cubicBezTo>
                  <a:cubicBezTo>
                    <a:pt x="402" y="325"/>
                    <a:pt x="413" y="318"/>
                    <a:pt x="426" y="318"/>
                  </a:cubicBezTo>
                  <a:cubicBezTo>
                    <a:pt x="444" y="318"/>
                    <a:pt x="455" y="331"/>
                    <a:pt x="455" y="349"/>
                  </a:cubicBezTo>
                  <a:cubicBezTo>
                    <a:pt x="455" y="356"/>
                    <a:pt x="453" y="363"/>
                    <a:pt x="448" y="369"/>
                  </a:cubicBezTo>
                  <a:cubicBezTo>
                    <a:pt x="449" y="369"/>
                    <a:pt x="449" y="369"/>
                    <a:pt x="449" y="369"/>
                  </a:cubicBezTo>
                  <a:cubicBezTo>
                    <a:pt x="407" y="441"/>
                    <a:pt x="327" y="484"/>
                    <a:pt x="238" y="484"/>
                  </a:cubicBezTo>
                  <a:cubicBezTo>
                    <a:pt x="103" y="480"/>
                    <a:pt x="0" y="377"/>
                    <a:pt x="0" y="242"/>
                  </a:cubicBezTo>
                  <a:cubicBezTo>
                    <a:pt x="0" y="107"/>
                    <a:pt x="103" y="0"/>
                    <a:pt x="238" y="0"/>
                  </a:cubicBezTo>
                  <a:cubicBezTo>
                    <a:pt x="361" y="0"/>
                    <a:pt x="478" y="95"/>
                    <a:pt x="478" y="235"/>
                  </a:cubicBezTo>
                  <a:cubicBezTo>
                    <a:pt x="478" y="254"/>
                    <a:pt x="465" y="265"/>
                    <a:pt x="448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23" y="265"/>
                    <a:pt x="111" y="252"/>
                    <a:pt x="111" y="236"/>
                  </a:cubicBezTo>
                  <a:cubicBezTo>
                    <a:pt x="111" y="219"/>
                    <a:pt x="123" y="205"/>
                    <a:pt x="139" y="205"/>
                  </a:cubicBez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76" name="Freeform 24"/>
            <p:cNvSpPr>
              <a:spLocks/>
            </p:cNvSpPr>
            <p:nvPr userDrawn="1"/>
          </p:nvSpPr>
          <p:spPr bwMode="auto">
            <a:xfrm>
              <a:off x="5921376" y="2165351"/>
              <a:ext cx="296863" cy="495300"/>
            </a:xfrm>
            <a:custGeom>
              <a:avLst/>
              <a:gdLst>
                <a:gd name="T0" fmla="*/ 248 w 291"/>
                <a:gd name="T1" fmla="*/ 120 h 485"/>
                <a:gd name="T2" fmla="*/ 214 w 291"/>
                <a:gd name="T3" fmla="*/ 98 h 485"/>
                <a:gd name="T4" fmla="*/ 143 w 291"/>
                <a:gd name="T5" fmla="*/ 57 h 485"/>
                <a:gd name="T6" fmla="*/ 76 w 291"/>
                <a:gd name="T7" fmla="*/ 122 h 485"/>
                <a:gd name="T8" fmla="*/ 157 w 291"/>
                <a:gd name="T9" fmla="*/ 200 h 485"/>
                <a:gd name="T10" fmla="*/ 239 w 291"/>
                <a:gd name="T11" fmla="*/ 238 h 485"/>
                <a:gd name="T12" fmla="*/ 291 w 291"/>
                <a:gd name="T13" fmla="*/ 340 h 485"/>
                <a:gd name="T14" fmla="*/ 146 w 291"/>
                <a:gd name="T15" fmla="*/ 485 h 485"/>
                <a:gd name="T16" fmla="*/ 1 w 291"/>
                <a:gd name="T17" fmla="*/ 362 h 485"/>
                <a:gd name="T18" fmla="*/ 0 w 291"/>
                <a:gd name="T19" fmla="*/ 353 h 485"/>
                <a:gd name="T20" fmla="*/ 30 w 291"/>
                <a:gd name="T21" fmla="*/ 322 h 485"/>
                <a:gd name="T22" fmla="*/ 62 w 291"/>
                <a:gd name="T23" fmla="*/ 351 h 485"/>
                <a:gd name="T24" fmla="*/ 147 w 291"/>
                <a:gd name="T25" fmla="*/ 427 h 485"/>
                <a:gd name="T26" fmla="*/ 230 w 291"/>
                <a:gd name="T27" fmla="*/ 350 h 485"/>
                <a:gd name="T28" fmla="*/ 138 w 291"/>
                <a:gd name="T29" fmla="*/ 257 h 485"/>
                <a:gd name="T30" fmla="*/ 14 w 291"/>
                <a:gd name="T31" fmla="*/ 127 h 485"/>
                <a:gd name="T32" fmla="*/ 147 w 291"/>
                <a:gd name="T33" fmla="*/ 0 h 485"/>
                <a:gd name="T34" fmla="*/ 272 w 291"/>
                <a:gd name="T35" fmla="*/ 89 h 485"/>
                <a:gd name="T36" fmla="*/ 248 w 291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1" h="485">
                  <a:moveTo>
                    <a:pt x="248" y="120"/>
                  </a:moveTo>
                  <a:cubicBezTo>
                    <a:pt x="233" y="122"/>
                    <a:pt x="221" y="115"/>
                    <a:pt x="214" y="98"/>
                  </a:cubicBezTo>
                  <a:cubicBezTo>
                    <a:pt x="201" y="70"/>
                    <a:pt x="176" y="57"/>
                    <a:pt x="143" y="57"/>
                  </a:cubicBezTo>
                  <a:cubicBezTo>
                    <a:pt x="106" y="57"/>
                    <a:pt x="76" y="89"/>
                    <a:pt x="76" y="122"/>
                  </a:cubicBezTo>
                  <a:cubicBezTo>
                    <a:pt x="76" y="158"/>
                    <a:pt x="96" y="179"/>
                    <a:pt x="157" y="200"/>
                  </a:cubicBezTo>
                  <a:cubicBezTo>
                    <a:pt x="184" y="210"/>
                    <a:pt x="217" y="223"/>
                    <a:pt x="239" y="238"/>
                  </a:cubicBezTo>
                  <a:cubicBezTo>
                    <a:pt x="275" y="264"/>
                    <a:pt x="291" y="297"/>
                    <a:pt x="291" y="340"/>
                  </a:cubicBezTo>
                  <a:cubicBezTo>
                    <a:pt x="291" y="428"/>
                    <a:pt x="231" y="485"/>
                    <a:pt x="146" y="485"/>
                  </a:cubicBezTo>
                  <a:cubicBezTo>
                    <a:pt x="67" y="485"/>
                    <a:pt x="20" y="435"/>
                    <a:pt x="1" y="362"/>
                  </a:cubicBezTo>
                  <a:cubicBezTo>
                    <a:pt x="0" y="358"/>
                    <a:pt x="0" y="356"/>
                    <a:pt x="0" y="353"/>
                  </a:cubicBezTo>
                  <a:cubicBezTo>
                    <a:pt x="0" y="333"/>
                    <a:pt x="14" y="322"/>
                    <a:pt x="30" y="322"/>
                  </a:cubicBezTo>
                  <a:cubicBezTo>
                    <a:pt x="48" y="322"/>
                    <a:pt x="59" y="334"/>
                    <a:pt x="62" y="351"/>
                  </a:cubicBezTo>
                  <a:cubicBezTo>
                    <a:pt x="70" y="395"/>
                    <a:pt x="106" y="427"/>
                    <a:pt x="147" y="427"/>
                  </a:cubicBezTo>
                  <a:cubicBezTo>
                    <a:pt x="191" y="427"/>
                    <a:pt x="230" y="392"/>
                    <a:pt x="230" y="350"/>
                  </a:cubicBezTo>
                  <a:cubicBezTo>
                    <a:pt x="230" y="308"/>
                    <a:pt x="204" y="279"/>
                    <a:pt x="138" y="257"/>
                  </a:cubicBezTo>
                  <a:cubicBezTo>
                    <a:pt x="46" y="225"/>
                    <a:pt x="14" y="190"/>
                    <a:pt x="14" y="127"/>
                  </a:cubicBezTo>
                  <a:cubicBezTo>
                    <a:pt x="14" y="54"/>
                    <a:pt x="71" y="0"/>
                    <a:pt x="147" y="0"/>
                  </a:cubicBezTo>
                  <a:cubicBezTo>
                    <a:pt x="215" y="0"/>
                    <a:pt x="272" y="47"/>
                    <a:pt x="272" y="89"/>
                  </a:cubicBezTo>
                  <a:cubicBezTo>
                    <a:pt x="272" y="103"/>
                    <a:pt x="265" y="117"/>
                    <a:pt x="248" y="120"/>
                  </a:cubicBez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77" name="Freeform 25"/>
            <p:cNvSpPr>
              <a:spLocks/>
            </p:cNvSpPr>
            <p:nvPr userDrawn="1"/>
          </p:nvSpPr>
          <p:spPr bwMode="auto">
            <a:xfrm>
              <a:off x="4511676" y="1096963"/>
              <a:ext cx="355600" cy="1558925"/>
            </a:xfrm>
            <a:custGeom>
              <a:avLst/>
              <a:gdLst>
                <a:gd name="T0" fmla="*/ 334 w 347"/>
                <a:gd name="T1" fmla="*/ 147 h 1523"/>
                <a:gd name="T2" fmla="*/ 201 w 347"/>
                <a:gd name="T3" fmla="*/ 13 h 1523"/>
                <a:gd name="T4" fmla="*/ 152 w 347"/>
                <a:gd name="T5" fmla="*/ 13 h 1523"/>
                <a:gd name="T6" fmla="*/ 14 w 347"/>
                <a:gd name="T7" fmla="*/ 145 h 1523"/>
                <a:gd name="T8" fmla="*/ 13 w 347"/>
                <a:gd name="T9" fmla="*/ 194 h 1523"/>
                <a:gd name="T10" fmla="*/ 62 w 347"/>
                <a:gd name="T11" fmla="*/ 195 h 1523"/>
                <a:gd name="T12" fmla="*/ 146 w 347"/>
                <a:gd name="T13" fmla="*/ 116 h 1523"/>
                <a:gd name="T14" fmla="*/ 146 w 347"/>
                <a:gd name="T15" fmla="*/ 1491 h 1523"/>
                <a:gd name="T16" fmla="*/ 175 w 347"/>
                <a:gd name="T17" fmla="*/ 1523 h 1523"/>
                <a:gd name="T18" fmla="*/ 205 w 347"/>
                <a:gd name="T19" fmla="*/ 1491 h 1523"/>
                <a:gd name="T20" fmla="*/ 205 w 347"/>
                <a:gd name="T21" fmla="*/ 115 h 1523"/>
                <a:gd name="T22" fmla="*/ 206 w 347"/>
                <a:gd name="T23" fmla="*/ 115 h 1523"/>
                <a:gd name="T24" fmla="*/ 285 w 347"/>
                <a:gd name="T25" fmla="*/ 196 h 1523"/>
                <a:gd name="T26" fmla="*/ 309 w 347"/>
                <a:gd name="T27" fmla="*/ 206 h 1523"/>
                <a:gd name="T28" fmla="*/ 334 w 347"/>
                <a:gd name="T29" fmla="*/ 196 h 1523"/>
                <a:gd name="T30" fmla="*/ 334 w 347"/>
                <a:gd name="T31" fmla="*/ 147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7" h="1523">
                  <a:moveTo>
                    <a:pt x="334" y="147"/>
                  </a:moveTo>
                  <a:cubicBezTo>
                    <a:pt x="201" y="13"/>
                    <a:pt x="201" y="13"/>
                    <a:pt x="201" y="13"/>
                  </a:cubicBezTo>
                  <a:cubicBezTo>
                    <a:pt x="187" y="0"/>
                    <a:pt x="166" y="0"/>
                    <a:pt x="152" y="13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0" y="159"/>
                    <a:pt x="0" y="180"/>
                    <a:pt x="13" y="194"/>
                  </a:cubicBezTo>
                  <a:cubicBezTo>
                    <a:pt x="26" y="208"/>
                    <a:pt x="48" y="208"/>
                    <a:pt x="62" y="195"/>
                  </a:cubicBezTo>
                  <a:cubicBezTo>
                    <a:pt x="146" y="116"/>
                    <a:pt x="146" y="116"/>
                    <a:pt x="146" y="116"/>
                  </a:cubicBezTo>
                  <a:cubicBezTo>
                    <a:pt x="146" y="1491"/>
                    <a:pt x="146" y="1491"/>
                    <a:pt x="146" y="1491"/>
                  </a:cubicBezTo>
                  <a:cubicBezTo>
                    <a:pt x="146" y="1509"/>
                    <a:pt x="158" y="1523"/>
                    <a:pt x="175" y="1523"/>
                  </a:cubicBezTo>
                  <a:cubicBezTo>
                    <a:pt x="194" y="1523"/>
                    <a:pt x="205" y="1509"/>
                    <a:pt x="205" y="1491"/>
                  </a:cubicBezTo>
                  <a:cubicBezTo>
                    <a:pt x="205" y="115"/>
                    <a:pt x="205" y="115"/>
                    <a:pt x="205" y="115"/>
                  </a:cubicBezTo>
                  <a:cubicBezTo>
                    <a:pt x="206" y="115"/>
                    <a:pt x="206" y="115"/>
                    <a:pt x="206" y="115"/>
                  </a:cubicBezTo>
                  <a:cubicBezTo>
                    <a:pt x="285" y="196"/>
                    <a:pt x="285" y="196"/>
                    <a:pt x="285" y="196"/>
                  </a:cubicBezTo>
                  <a:cubicBezTo>
                    <a:pt x="292" y="202"/>
                    <a:pt x="301" y="206"/>
                    <a:pt x="309" y="206"/>
                  </a:cubicBezTo>
                  <a:cubicBezTo>
                    <a:pt x="318" y="206"/>
                    <a:pt x="327" y="202"/>
                    <a:pt x="334" y="196"/>
                  </a:cubicBezTo>
                  <a:cubicBezTo>
                    <a:pt x="347" y="182"/>
                    <a:pt x="347" y="160"/>
                    <a:pt x="334" y="147"/>
                  </a:cubicBez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78" name="Freeform 26"/>
            <p:cNvSpPr>
              <a:spLocks noEditPoints="1"/>
            </p:cNvSpPr>
            <p:nvPr userDrawn="1"/>
          </p:nvSpPr>
          <p:spPr bwMode="auto">
            <a:xfrm>
              <a:off x="6254751" y="2495551"/>
              <a:ext cx="165100" cy="165100"/>
            </a:xfrm>
            <a:custGeom>
              <a:avLst/>
              <a:gdLst>
                <a:gd name="T0" fmla="*/ 20 w 161"/>
                <a:gd name="T1" fmla="*/ 82 h 162"/>
                <a:gd name="T2" fmla="*/ 81 w 161"/>
                <a:gd name="T3" fmla="*/ 144 h 162"/>
                <a:gd name="T4" fmla="*/ 141 w 161"/>
                <a:gd name="T5" fmla="*/ 80 h 162"/>
                <a:gd name="T6" fmla="*/ 81 w 161"/>
                <a:gd name="T7" fmla="*/ 18 h 162"/>
                <a:gd name="T8" fmla="*/ 20 w 161"/>
                <a:gd name="T9" fmla="*/ 82 h 162"/>
                <a:gd name="T10" fmla="*/ 161 w 161"/>
                <a:gd name="T11" fmla="*/ 82 h 162"/>
                <a:gd name="T12" fmla="*/ 81 w 161"/>
                <a:gd name="T13" fmla="*/ 162 h 162"/>
                <a:gd name="T14" fmla="*/ 0 w 161"/>
                <a:gd name="T15" fmla="*/ 82 h 162"/>
                <a:gd name="T16" fmla="*/ 81 w 161"/>
                <a:gd name="T17" fmla="*/ 0 h 162"/>
                <a:gd name="T18" fmla="*/ 161 w 161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20" y="82"/>
                  </a:moveTo>
                  <a:cubicBezTo>
                    <a:pt x="20" y="116"/>
                    <a:pt x="47" y="144"/>
                    <a:pt x="81" y="144"/>
                  </a:cubicBezTo>
                  <a:cubicBezTo>
                    <a:pt x="115" y="144"/>
                    <a:pt x="141" y="116"/>
                    <a:pt x="141" y="80"/>
                  </a:cubicBezTo>
                  <a:cubicBezTo>
                    <a:pt x="141" y="46"/>
                    <a:pt x="114" y="18"/>
                    <a:pt x="81" y="18"/>
                  </a:cubicBezTo>
                  <a:cubicBezTo>
                    <a:pt x="47" y="18"/>
                    <a:pt x="20" y="47"/>
                    <a:pt x="20" y="82"/>
                  </a:cubicBezTo>
                  <a:moveTo>
                    <a:pt x="161" y="82"/>
                  </a:moveTo>
                  <a:cubicBezTo>
                    <a:pt x="161" y="125"/>
                    <a:pt x="124" y="162"/>
                    <a:pt x="81" y="162"/>
                  </a:cubicBezTo>
                  <a:cubicBezTo>
                    <a:pt x="37" y="162"/>
                    <a:pt x="0" y="126"/>
                    <a:pt x="0" y="82"/>
                  </a:cubicBezTo>
                  <a:cubicBezTo>
                    <a:pt x="0" y="37"/>
                    <a:pt x="36" y="0"/>
                    <a:pt x="81" y="0"/>
                  </a:cubicBezTo>
                  <a:cubicBezTo>
                    <a:pt x="125" y="0"/>
                    <a:pt x="161" y="37"/>
                    <a:pt x="161" y="82"/>
                  </a:cubicBezTo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79" name="Freeform 27"/>
            <p:cNvSpPr>
              <a:spLocks noEditPoints="1"/>
            </p:cNvSpPr>
            <p:nvPr userDrawn="1"/>
          </p:nvSpPr>
          <p:spPr bwMode="auto">
            <a:xfrm>
              <a:off x="6451601" y="2495551"/>
              <a:ext cx="165100" cy="165100"/>
            </a:xfrm>
            <a:custGeom>
              <a:avLst/>
              <a:gdLst>
                <a:gd name="T0" fmla="*/ 20 w 161"/>
                <a:gd name="T1" fmla="*/ 82 h 162"/>
                <a:gd name="T2" fmla="*/ 81 w 161"/>
                <a:gd name="T3" fmla="*/ 144 h 162"/>
                <a:gd name="T4" fmla="*/ 142 w 161"/>
                <a:gd name="T5" fmla="*/ 80 h 162"/>
                <a:gd name="T6" fmla="*/ 81 w 161"/>
                <a:gd name="T7" fmla="*/ 18 h 162"/>
                <a:gd name="T8" fmla="*/ 20 w 161"/>
                <a:gd name="T9" fmla="*/ 82 h 162"/>
                <a:gd name="T10" fmla="*/ 161 w 161"/>
                <a:gd name="T11" fmla="*/ 82 h 162"/>
                <a:gd name="T12" fmla="*/ 81 w 161"/>
                <a:gd name="T13" fmla="*/ 162 h 162"/>
                <a:gd name="T14" fmla="*/ 0 w 161"/>
                <a:gd name="T15" fmla="*/ 82 h 162"/>
                <a:gd name="T16" fmla="*/ 81 w 161"/>
                <a:gd name="T17" fmla="*/ 0 h 162"/>
                <a:gd name="T18" fmla="*/ 161 w 161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20" y="82"/>
                  </a:moveTo>
                  <a:cubicBezTo>
                    <a:pt x="20" y="116"/>
                    <a:pt x="48" y="144"/>
                    <a:pt x="81" y="144"/>
                  </a:cubicBezTo>
                  <a:cubicBezTo>
                    <a:pt x="115" y="144"/>
                    <a:pt x="142" y="116"/>
                    <a:pt x="142" y="80"/>
                  </a:cubicBezTo>
                  <a:cubicBezTo>
                    <a:pt x="142" y="46"/>
                    <a:pt x="114" y="18"/>
                    <a:pt x="81" y="18"/>
                  </a:cubicBezTo>
                  <a:cubicBezTo>
                    <a:pt x="47" y="18"/>
                    <a:pt x="20" y="47"/>
                    <a:pt x="20" y="82"/>
                  </a:cubicBezTo>
                  <a:moveTo>
                    <a:pt x="161" y="82"/>
                  </a:moveTo>
                  <a:cubicBezTo>
                    <a:pt x="161" y="125"/>
                    <a:pt x="124" y="162"/>
                    <a:pt x="81" y="162"/>
                  </a:cubicBezTo>
                  <a:cubicBezTo>
                    <a:pt x="37" y="162"/>
                    <a:pt x="0" y="126"/>
                    <a:pt x="0" y="82"/>
                  </a:cubicBezTo>
                  <a:cubicBezTo>
                    <a:pt x="0" y="37"/>
                    <a:pt x="36" y="0"/>
                    <a:pt x="81" y="0"/>
                  </a:cubicBezTo>
                  <a:cubicBezTo>
                    <a:pt x="125" y="0"/>
                    <a:pt x="161" y="37"/>
                    <a:pt x="161" y="82"/>
                  </a:cubicBezTo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80" name="Freeform 28"/>
            <p:cNvSpPr>
              <a:spLocks noEditPoints="1"/>
            </p:cNvSpPr>
            <p:nvPr userDrawn="1"/>
          </p:nvSpPr>
          <p:spPr bwMode="auto">
            <a:xfrm>
              <a:off x="6650038" y="2495551"/>
              <a:ext cx="165100" cy="165100"/>
            </a:xfrm>
            <a:custGeom>
              <a:avLst/>
              <a:gdLst>
                <a:gd name="T0" fmla="*/ 20 w 162"/>
                <a:gd name="T1" fmla="*/ 82 h 162"/>
                <a:gd name="T2" fmla="*/ 82 w 162"/>
                <a:gd name="T3" fmla="*/ 144 h 162"/>
                <a:gd name="T4" fmla="*/ 142 w 162"/>
                <a:gd name="T5" fmla="*/ 80 h 162"/>
                <a:gd name="T6" fmla="*/ 82 w 162"/>
                <a:gd name="T7" fmla="*/ 18 h 162"/>
                <a:gd name="T8" fmla="*/ 20 w 162"/>
                <a:gd name="T9" fmla="*/ 82 h 162"/>
                <a:gd name="T10" fmla="*/ 162 w 162"/>
                <a:gd name="T11" fmla="*/ 82 h 162"/>
                <a:gd name="T12" fmla="*/ 82 w 162"/>
                <a:gd name="T13" fmla="*/ 162 h 162"/>
                <a:gd name="T14" fmla="*/ 0 w 162"/>
                <a:gd name="T15" fmla="*/ 82 h 162"/>
                <a:gd name="T16" fmla="*/ 82 w 162"/>
                <a:gd name="T17" fmla="*/ 0 h 162"/>
                <a:gd name="T18" fmla="*/ 162 w 162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62">
                  <a:moveTo>
                    <a:pt x="20" y="82"/>
                  </a:moveTo>
                  <a:cubicBezTo>
                    <a:pt x="20" y="116"/>
                    <a:pt x="48" y="144"/>
                    <a:pt x="82" y="144"/>
                  </a:cubicBezTo>
                  <a:cubicBezTo>
                    <a:pt x="115" y="144"/>
                    <a:pt x="142" y="116"/>
                    <a:pt x="142" y="80"/>
                  </a:cubicBezTo>
                  <a:cubicBezTo>
                    <a:pt x="142" y="46"/>
                    <a:pt x="114" y="18"/>
                    <a:pt x="82" y="18"/>
                  </a:cubicBezTo>
                  <a:cubicBezTo>
                    <a:pt x="47" y="18"/>
                    <a:pt x="20" y="47"/>
                    <a:pt x="20" y="82"/>
                  </a:cubicBezTo>
                  <a:moveTo>
                    <a:pt x="162" y="82"/>
                  </a:moveTo>
                  <a:cubicBezTo>
                    <a:pt x="162" y="125"/>
                    <a:pt x="124" y="162"/>
                    <a:pt x="82" y="162"/>
                  </a:cubicBezTo>
                  <a:cubicBezTo>
                    <a:pt x="37" y="162"/>
                    <a:pt x="0" y="126"/>
                    <a:pt x="0" y="82"/>
                  </a:cubicBezTo>
                  <a:cubicBezTo>
                    <a:pt x="0" y="37"/>
                    <a:pt x="36" y="0"/>
                    <a:pt x="82" y="0"/>
                  </a:cubicBezTo>
                  <a:cubicBezTo>
                    <a:pt x="125" y="0"/>
                    <a:pt x="162" y="37"/>
                    <a:pt x="162" y="82"/>
                  </a:cubicBezTo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  <p:sp>
          <p:nvSpPr>
            <p:cNvPr id="81" name="Freeform 29"/>
            <p:cNvSpPr>
              <a:spLocks noEditPoints="1"/>
            </p:cNvSpPr>
            <p:nvPr userDrawn="1"/>
          </p:nvSpPr>
          <p:spPr bwMode="auto">
            <a:xfrm>
              <a:off x="3787776" y="1746251"/>
              <a:ext cx="644525" cy="914400"/>
            </a:xfrm>
            <a:custGeom>
              <a:avLst/>
              <a:gdLst>
                <a:gd name="T0" fmla="*/ 390 w 631"/>
                <a:gd name="T1" fmla="*/ 409 h 894"/>
                <a:gd name="T2" fmla="*/ 246 w 631"/>
                <a:gd name="T3" fmla="*/ 453 h 894"/>
                <a:gd name="T4" fmla="*/ 246 w 631"/>
                <a:gd name="T5" fmla="*/ 533 h 894"/>
                <a:gd name="T6" fmla="*/ 390 w 631"/>
                <a:gd name="T7" fmla="*/ 467 h 894"/>
                <a:gd name="T8" fmla="*/ 571 w 631"/>
                <a:gd name="T9" fmla="*/ 651 h 894"/>
                <a:gd name="T10" fmla="*/ 390 w 631"/>
                <a:gd name="T11" fmla="*/ 834 h 894"/>
                <a:gd name="T12" fmla="*/ 209 w 631"/>
                <a:gd name="T13" fmla="*/ 649 h 894"/>
                <a:gd name="T14" fmla="*/ 209 w 631"/>
                <a:gd name="T15" fmla="*/ 82 h 894"/>
                <a:gd name="T16" fmla="*/ 554 w 631"/>
                <a:gd name="T17" fmla="*/ 82 h 894"/>
                <a:gd name="T18" fmla="*/ 595 w 631"/>
                <a:gd name="T19" fmla="*/ 41 h 894"/>
                <a:gd name="T20" fmla="*/ 554 w 631"/>
                <a:gd name="T21" fmla="*/ 0 h 894"/>
                <a:gd name="T22" fmla="*/ 41 w 631"/>
                <a:gd name="T23" fmla="*/ 0 h 894"/>
                <a:gd name="T24" fmla="*/ 0 w 631"/>
                <a:gd name="T25" fmla="*/ 41 h 894"/>
                <a:gd name="T26" fmla="*/ 41 w 631"/>
                <a:gd name="T27" fmla="*/ 82 h 894"/>
                <a:gd name="T28" fmla="*/ 149 w 631"/>
                <a:gd name="T29" fmla="*/ 82 h 894"/>
                <a:gd name="T30" fmla="*/ 149 w 631"/>
                <a:gd name="T31" fmla="*/ 651 h 894"/>
                <a:gd name="T32" fmla="*/ 390 w 631"/>
                <a:gd name="T33" fmla="*/ 894 h 894"/>
                <a:gd name="T34" fmla="*/ 631 w 631"/>
                <a:gd name="T35" fmla="*/ 651 h 894"/>
                <a:gd name="T36" fmla="*/ 390 w 631"/>
                <a:gd name="T37" fmla="*/ 409 h 894"/>
                <a:gd name="T38" fmla="*/ 14 w 631"/>
                <a:gd name="T39" fmla="*/ 41 h 894"/>
                <a:gd name="T40" fmla="*/ 41 w 631"/>
                <a:gd name="T41" fmla="*/ 14 h 894"/>
                <a:gd name="T42" fmla="*/ 554 w 631"/>
                <a:gd name="T43" fmla="*/ 14 h 894"/>
                <a:gd name="T44" fmla="*/ 581 w 631"/>
                <a:gd name="T45" fmla="*/ 41 h 894"/>
                <a:gd name="T46" fmla="*/ 554 w 631"/>
                <a:gd name="T47" fmla="*/ 68 h 894"/>
                <a:gd name="T48" fmla="*/ 41 w 631"/>
                <a:gd name="T49" fmla="*/ 68 h 894"/>
                <a:gd name="T50" fmla="*/ 14 w 631"/>
                <a:gd name="T51" fmla="*/ 41 h 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31" h="894">
                  <a:moveTo>
                    <a:pt x="390" y="409"/>
                  </a:moveTo>
                  <a:cubicBezTo>
                    <a:pt x="336" y="409"/>
                    <a:pt x="288" y="422"/>
                    <a:pt x="246" y="453"/>
                  </a:cubicBezTo>
                  <a:cubicBezTo>
                    <a:pt x="246" y="533"/>
                    <a:pt x="246" y="533"/>
                    <a:pt x="246" y="533"/>
                  </a:cubicBezTo>
                  <a:cubicBezTo>
                    <a:pt x="283" y="488"/>
                    <a:pt x="332" y="467"/>
                    <a:pt x="390" y="467"/>
                  </a:cubicBezTo>
                  <a:cubicBezTo>
                    <a:pt x="493" y="467"/>
                    <a:pt x="571" y="550"/>
                    <a:pt x="571" y="651"/>
                  </a:cubicBezTo>
                  <a:cubicBezTo>
                    <a:pt x="571" y="752"/>
                    <a:pt x="490" y="834"/>
                    <a:pt x="390" y="834"/>
                  </a:cubicBezTo>
                  <a:cubicBezTo>
                    <a:pt x="290" y="834"/>
                    <a:pt x="209" y="752"/>
                    <a:pt x="209" y="649"/>
                  </a:cubicBezTo>
                  <a:cubicBezTo>
                    <a:pt x="209" y="82"/>
                    <a:pt x="209" y="82"/>
                    <a:pt x="209" y="82"/>
                  </a:cubicBezTo>
                  <a:cubicBezTo>
                    <a:pt x="554" y="82"/>
                    <a:pt x="554" y="82"/>
                    <a:pt x="554" y="82"/>
                  </a:cubicBezTo>
                  <a:cubicBezTo>
                    <a:pt x="576" y="82"/>
                    <a:pt x="595" y="64"/>
                    <a:pt x="595" y="41"/>
                  </a:cubicBezTo>
                  <a:cubicBezTo>
                    <a:pt x="595" y="18"/>
                    <a:pt x="576" y="0"/>
                    <a:pt x="554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8" y="0"/>
                    <a:pt x="0" y="18"/>
                    <a:pt x="0" y="41"/>
                  </a:cubicBezTo>
                  <a:cubicBezTo>
                    <a:pt x="0" y="64"/>
                    <a:pt x="18" y="82"/>
                    <a:pt x="41" y="82"/>
                  </a:cubicBezTo>
                  <a:cubicBezTo>
                    <a:pt x="149" y="82"/>
                    <a:pt x="149" y="82"/>
                    <a:pt x="149" y="82"/>
                  </a:cubicBezTo>
                  <a:cubicBezTo>
                    <a:pt x="149" y="651"/>
                    <a:pt x="149" y="651"/>
                    <a:pt x="149" y="651"/>
                  </a:cubicBezTo>
                  <a:cubicBezTo>
                    <a:pt x="149" y="786"/>
                    <a:pt x="256" y="894"/>
                    <a:pt x="390" y="894"/>
                  </a:cubicBezTo>
                  <a:cubicBezTo>
                    <a:pt x="523" y="894"/>
                    <a:pt x="631" y="786"/>
                    <a:pt x="631" y="651"/>
                  </a:cubicBezTo>
                  <a:cubicBezTo>
                    <a:pt x="631" y="517"/>
                    <a:pt x="526" y="409"/>
                    <a:pt x="390" y="409"/>
                  </a:cubicBezTo>
                  <a:close/>
                  <a:moveTo>
                    <a:pt x="14" y="41"/>
                  </a:moveTo>
                  <a:cubicBezTo>
                    <a:pt x="14" y="26"/>
                    <a:pt x="26" y="14"/>
                    <a:pt x="41" y="14"/>
                  </a:cubicBezTo>
                  <a:cubicBezTo>
                    <a:pt x="554" y="14"/>
                    <a:pt x="554" y="14"/>
                    <a:pt x="554" y="14"/>
                  </a:cubicBezTo>
                  <a:cubicBezTo>
                    <a:pt x="569" y="14"/>
                    <a:pt x="581" y="26"/>
                    <a:pt x="581" y="41"/>
                  </a:cubicBezTo>
                  <a:cubicBezTo>
                    <a:pt x="581" y="56"/>
                    <a:pt x="569" y="68"/>
                    <a:pt x="554" y="68"/>
                  </a:cubicBezTo>
                  <a:cubicBezTo>
                    <a:pt x="41" y="68"/>
                    <a:pt x="41" y="68"/>
                    <a:pt x="41" y="68"/>
                  </a:cubicBezTo>
                  <a:cubicBezTo>
                    <a:pt x="26" y="68"/>
                    <a:pt x="14" y="56"/>
                    <a:pt x="14" y="41"/>
                  </a:cubicBez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 dirty="0">
                <a:latin typeface="Calibri" panose="020F0502020204030204" pitchFamily="34" charset="0"/>
              </a:endParaRPr>
            </a:p>
          </p:txBody>
        </p:sp>
      </p:grpSp>
      <p:pic>
        <p:nvPicPr>
          <p:cNvPr id="44" name="Picture 17" descr="pepsi_logo_color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639" y="177419"/>
            <a:ext cx="1535112" cy="35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16201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7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550500" y="759800"/>
            <a:ext cx="6107700" cy="39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Oswald"/>
              <a:buNone/>
              <a:defRPr sz="3200">
                <a:solidFill>
                  <a:schemeClr val="accent1"/>
                </a:solidFill>
                <a:latin typeface="Oswald"/>
                <a:ea typeface="Oswald"/>
                <a:cs typeface="Oswald"/>
                <a:sym typeface="Oswald"/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Oswald"/>
              <a:buNone/>
              <a:defRPr sz="3200">
                <a:solidFill>
                  <a:schemeClr val="accent1"/>
                </a:solidFill>
                <a:latin typeface="Oswald"/>
                <a:ea typeface="Oswald"/>
                <a:cs typeface="Oswald"/>
                <a:sym typeface="Oswald"/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Oswald"/>
              <a:buNone/>
              <a:defRPr sz="3200">
                <a:solidFill>
                  <a:schemeClr val="accent1"/>
                </a:solidFill>
                <a:latin typeface="Oswald"/>
                <a:ea typeface="Oswald"/>
                <a:cs typeface="Oswald"/>
                <a:sym typeface="Oswald"/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Oswald"/>
              <a:buNone/>
              <a:defRPr sz="3200">
                <a:solidFill>
                  <a:schemeClr val="accent1"/>
                </a:solidFill>
                <a:latin typeface="Oswald"/>
                <a:ea typeface="Oswald"/>
                <a:cs typeface="Oswald"/>
                <a:sym typeface="Oswald"/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Oswald"/>
              <a:buNone/>
              <a:defRPr sz="3200">
                <a:solidFill>
                  <a:schemeClr val="accent1"/>
                </a:solidFill>
                <a:latin typeface="Oswald"/>
                <a:ea typeface="Oswald"/>
                <a:cs typeface="Oswald"/>
                <a:sym typeface="Oswald"/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Oswald"/>
              <a:buNone/>
              <a:defRPr sz="3200">
                <a:solidFill>
                  <a:schemeClr val="accent1"/>
                </a:solidFill>
                <a:latin typeface="Oswald"/>
                <a:ea typeface="Oswald"/>
                <a:cs typeface="Oswald"/>
                <a:sym typeface="Oswald"/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Oswald"/>
              <a:buNone/>
              <a:defRPr sz="3200">
                <a:solidFill>
                  <a:schemeClr val="accent1"/>
                </a:solidFill>
                <a:latin typeface="Oswald"/>
                <a:ea typeface="Oswald"/>
                <a:cs typeface="Oswald"/>
                <a:sym typeface="Oswald"/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Oswald"/>
              <a:buNone/>
              <a:defRPr sz="3200">
                <a:solidFill>
                  <a:schemeClr val="accent1"/>
                </a:solidFill>
                <a:latin typeface="Oswald"/>
                <a:ea typeface="Oswald"/>
                <a:cs typeface="Oswald"/>
                <a:sym typeface="Oswald"/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Oswald"/>
              <a:buNone/>
              <a:defRPr sz="3200">
                <a:solidFill>
                  <a:schemeClr val="accent1"/>
                </a:solidFill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550500" y="1353948"/>
            <a:ext cx="6107700" cy="303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810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News Cycle"/>
              <a:buChar char="▸"/>
              <a:defRPr sz="2400">
                <a:solidFill>
                  <a:schemeClr val="dk1"/>
                </a:solidFill>
                <a:latin typeface="News Cycle"/>
                <a:ea typeface="News Cycle"/>
                <a:cs typeface="News Cycle"/>
                <a:sym typeface="News Cycle"/>
              </a:defRPr>
            </a:lvl1pPr>
            <a:lvl2pPr marL="914400" lvl="1" indent="-381000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News Cycle"/>
              <a:buChar char="▹"/>
              <a:defRPr sz="2400">
                <a:solidFill>
                  <a:schemeClr val="dk1"/>
                </a:solidFill>
                <a:latin typeface="News Cycle"/>
                <a:ea typeface="News Cycle"/>
                <a:cs typeface="News Cycle"/>
                <a:sym typeface="News Cycle"/>
              </a:defRPr>
            </a:lvl2pPr>
            <a:lvl3pPr marL="1371600" lvl="2" indent="-381000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News Cycle"/>
              <a:buChar char="■"/>
              <a:defRPr sz="2400">
                <a:solidFill>
                  <a:schemeClr val="dk1"/>
                </a:solidFill>
                <a:latin typeface="News Cycle"/>
                <a:ea typeface="News Cycle"/>
                <a:cs typeface="News Cycle"/>
                <a:sym typeface="News Cycle"/>
              </a:defRPr>
            </a:lvl3pPr>
            <a:lvl4pPr marL="1828800" lvl="3" indent="-381000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News Cycle"/>
              <a:buChar char="●"/>
              <a:defRPr sz="2400">
                <a:solidFill>
                  <a:schemeClr val="dk1"/>
                </a:solidFill>
                <a:latin typeface="News Cycle"/>
                <a:ea typeface="News Cycle"/>
                <a:cs typeface="News Cycle"/>
                <a:sym typeface="News Cycle"/>
              </a:defRPr>
            </a:lvl4pPr>
            <a:lvl5pPr marL="2286000" lvl="4" indent="-381000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News Cycle"/>
              <a:buChar char="○"/>
              <a:defRPr sz="2400">
                <a:solidFill>
                  <a:schemeClr val="dk1"/>
                </a:solidFill>
                <a:latin typeface="News Cycle"/>
                <a:ea typeface="News Cycle"/>
                <a:cs typeface="News Cycle"/>
                <a:sym typeface="News Cycle"/>
              </a:defRPr>
            </a:lvl5pPr>
            <a:lvl6pPr marL="2743200" lvl="5" indent="-381000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News Cycle"/>
              <a:buChar char="■"/>
              <a:defRPr sz="2400">
                <a:solidFill>
                  <a:schemeClr val="dk1"/>
                </a:solidFill>
                <a:latin typeface="News Cycle"/>
                <a:ea typeface="News Cycle"/>
                <a:cs typeface="News Cycle"/>
                <a:sym typeface="News Cycle"/>
              </a:defRPr>
            </a:lvl6pPr>
            <a:lvl7pPr marL="3200400" lvl="6" indent="-381000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News Cycle"/>
              <a:buChar char="●"/>
              <a:defRPr sz="2400">
                <a:solidFill>
                  <a:schemeClr val="dk1"/>
                </a:solidFill>
                <a:latin typeface="News Cycle"/>
                <a:ea typeface="News Cycle"/>
                <a:cs typeface="News Cycle"/>
                <a:sym typeface="News Cycle"/>
              </a:defRPr>
            </a:lvl7pPr>
            <a:lvl8pPr marL="3657600" lvl="7" indent="-381000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News Cycle"/>
              <a:buChar char="○"/>
              <a:defRPr sz="2400">
                <a:solidFill>
                  <a:schemeClr val="dk1"/>
                </a:solidFill>
                <a:latin typeface="News Cycle"/>
                <a:ea typeface="News Cycle"/>
                <a:cs typeface="News Cycle"/>
                <a:sym typeface="News Cycle"/>
              </a:defRPr>
            </a:lvl8pPr>
            <a:lvl9pPr marL="4114800" lvl="8" indent="-381000" rtl="0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dk1"/>
              </a:buClr>
              <a:buSzPts val="2400"/>
              <a:buFont typeface="News Cycle"/>
              <a:buChar char="■"/>
              <a:defRPr sz="2400">
                <a:solidFill>
                  <a:schemeClr val="dk1"/>
                </a:solidFill>
                <a:latin typeface="News Cycle"/>
                <a:ea typeface="News Cycle"/>
                <a:cs typeface="News Cycle"/>
                <a:sym typeface="News Cycle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346250" y="4688650"/>
            <a:ext cx="569100" cy="45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 rtl="0">
              <a:buNone/>
              <a:defRPr sz="1300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defRPr>
            </a:lvl1pPr>
            <a:lvl2pPr lvl="1" algn="ctr" rtl="0">
              <a:buNone/>
              <a:defRPr sz="1300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defRPr>
            </a:lvl2pPr>
            <a:lvl3pPr lvl="2" algn="ctr" rtl="0">
              <a:buNone/>
              <a:defRPr sz="1300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defRPr>
            </a:lvl3pPr>
            <a:lvl4pPr lvl="3" algn="ctr" rtl="0">
              <a:buNone/>
              <a:defRPr sz="1300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defRPr>
            </a:lvl4pPr>
            <a:lvl5pPr lvl="4" algn="ctr" rtl="0">
              <a:buNone/>
              <a:defRPr sz="1300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defRPr>
            </a:lvl5pPr>
            <a:lvl6pPr lvl="5" algn="ctr" rtl="0">
              <a:buNone/>
              <a:defRPr sz="1300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defRPr>
            </a:lvl6pPr>
            <a:lvl7pPr lvl="6" algn="ctr" rtl="0">
              <a:buNone/>
              <a:defRPr sz="1300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defRPr>
            </a:lvl7pPr>
            <a:lvl8pPr lvl="7" algn="ctr" rtl="0">
              <a:buNone/>
              <a:defRPr sz="1300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defRPr>
            </a:lvl8pPr>
            <a:lvl9pPr lvl="8" algn="ctr" rtl="0">
              <a:buNone/>
              <a:defRPr sz="1300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7" r:id="rId2"/>
    <p:sldLayoutId id="2147483659" r:id="rId3"/>
    <p:sldLayoutId id="2147483660" r:id="rId4"/>
    <p:sldLayoutId id="2147483661" r:id="rId5"/>
    <p:sldLayoutId id="2147483662" r:id="rId6"/>
    <p:sldLayoutId id="2147483678" r:id="rId7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9" y="1587"/>
          <a:ext cx="1587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7"/>
                        <a:ext cx="1587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" y="1"/>
            <a:ext cx="7179878" cy="616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576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6891" y="828441"/>
            <a:ext cx="8150225" cy="3614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46" name="Text Box 22"/>
          <p:cNvSpPr txBox="1">
            <a:spLocks noChangeArrowheads="1"/>
          </p:cNvSpPr>
          <p:nvPr userDrawn="1"/>
        </p:nvSpPr>
        <p:spPr bwMode="auto">
          <a:xfrm>
            <a:off x="8636001" y="4858455"/>
            <a:ext cx="361950" cy="13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>
              <a:spcBef>
                <a:spcPct val="50000"/>
              </a:spcBef>
            </a:pPr>
            <a:fld id="{FC931844-EFC8-4018-8AE6-72EE0AB035E0}" type="slidenum">
              <a:rPr lang="en-US" sz="1100" b="0">
                <a:solidFill>
                  <a:schemeClr val="bg1"/>
                </a:solidFill>
                <a:latin typeface="+mj-lt"/>
              </a:rPr>
              <a:pPr algn="r">
                <a:spcBef>
                  <a:spcPct val="50000"/>
                </a:spcBef>
              </a:pPr>
              <a:t>‹#›</a:t>
            </a:fld>
            <a:endParaRPr lang="en-US" sz="1100" b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47380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</p:sldLayoutIdLst>
  <p:txStyles>
    <p:titleStyle>
      <a:lvl1pPr algn="l" rtl="0" fontAlgn="base">
        <a:lnSpc>
          <a:spcPct val="95000"/>
        </a:lnSpc>
        <a:spcBef>
          <a:spcPct val="0"/>
        </a:spcBef>
        <a:spcAft>
          <a:spcPct val="0"/>
        </a:spcAft>
        <a:defRPr lang="en-US" sz="2398" b="1" dirty="0" smtClean="0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lnSpc>
          <a:spcPct val="95000"/>
        </a:lnSpc>
        <a:spcBef>
          <a:spcPct val="0"/>
        </a:spcBef>
        <a:spcAft>
          <a:spcPct val="0"/>
        </a:spcAft>
        <a:defRPr sz="2998" b="1">
          <a:solidFill>
            <a:schemeClr val="bg2"/>
          </a:solidFill>
          <a:latin typeface="Arial" charset="0"/>
        </a:defRPr>
      </a:lvl2pPr>
      <a:lvl3pPr algn="l" rtl="0" fontAlgn="base">
        <a:lnSpc>
          <a:spcPct val="95000"/>
        </a:lnSpc>
        <a:spcBef>
          <a:spcPct val="0"/>
        </a:spcBef>
        <a:spcAft>
          <a:spcPct val="0"/>
        </a:spcAft>
        <a:defRPr sz="2998" b="1">
          <a:solidFill>
            <a:schemeClr val="bg2"/>
          </a:solidFill>
          <a:latin typeface="Arial" charset="0"/>
        </a:defRPr>
      </a:lvl3pPr>
      <a:lvl4pPr algn="l" rtl="0" fontAlgn="base">
        <a:lnSpc>
          <a:spcPct val="95000"/>
        </a:lnSpc>
        <a:spcBef>
          <a:spcPct val="0"/>
        </a:spcBef>
        <a:spcAft>
          <a:spcPct val="0"/>
        </a:spcAft>
        <a:defRPr sz="2998" b="1">
          <a:solidFill>
            <a:schemeClr val="bg2"/>
          </a:solidFill>
          <a:latin typeface="Arial" charset="0"/>
        </a:defRPr>
      </a:lvl4pPr>
      <a:lvl5pPr algn="l" rtl="0" fontAlgn="base">
        <a:lnSpc>
          <a:spcPct val="95000"/>
        </a:lnSpc>
        <a:spcBef>
          <a:spcPct val="0"/>
        </a:spcBef>
        <a:spcAft>
          <a:spcPct val="0"/>
        </a:spcAft>
        <a:defRPr sz="2998" b="1">
          <a:solidFill>
            <a:schemeClr val="bg2"/>
          </a:solidFill>
          <a:latin typeface="Arial" charset="0"/>
        </a:defRPr>
      </a:lvl5pPr>
      <a:lvl6pPr marL="456777" algn="l" rtl="0" fontAlgn="base">
        <a:lnSpc>
          <a:spcPct val="95000"/>
        </a:lnSpc>
        <a:spcBef>
          <a:spcPct val="0"/>
        </a:spcBef>
        <a:spcAft>
          <a:spcPct val="0"/>
        </a:spcAft>
        <a:defRPr sz="2998" b="1">
          <a:solidFill>
            <a:schemeClr val="bg2"/>
          </a:solidFill>
          <a:latin typeface="Arial" charset="0"/>
        </a:defRPr>
      </a:lvl6pPr>
      <a:lvl7pPr marL="913554" algn="l" rtl="0" fontAlgn="base">
        <a:lnSpc>
          <a:spcPct val="95000"/>
        </a:lnSpc>
        <a:spcBef>
          <a:spcPct val="0"/>
        </a:spcBef>
        <a:spcAft>
          <a:spcPct val="0"/>
        </a:spcAft>
        <a:defRPr sz="2998" b="1">
          <a:solidFill>
            <a:schemeClr val="bg2"/>
          </a:solidFill>
          <a:latin typeface="Arial" charset="0"/>
        </a:defRPr>
      </a:lvl7pPr>
      <a:lvl8pPr marL="1370332" algn="l" rtl="0" fontAlgn="base">
        <a:lnSpc>
          <a:spcPct val="95000"/>
        </a:lnSpc>
        <a:spcBef>
          <a:spcPct val="0"/>
        </a:spcBef>
        <a:spcAft>
          <a:spcPct val="0"/>
        </a:spcAft>
        <a:defRPr sz="2998" b="1">
          <a:solidFill>
            <a:schemeClr val="bg2"/>
          </a:solidFill>
          <a:latin typeface="Arial" charset="0"/>
        </a:defRPr>
      </a:lvl8pPr>
      <a:lvl9pPr marL="1827109" algn="l" rtl="0" fontAlgn="base">
        <a:lnSpc>
          <a:spcPct val="95000"/>
        </a:lnSpc>
        <a:spcBef>
          <a:spcPct val="0"/>
        </a:spcBef>
        <a:spcAft>
          <a:spcPct val="0"/>
        </a:spcAft>
        <a:defRPr sz="2998" b="1">
          <a:solidFill>
            <a:schemeClr val="bg2"/>
          </a:solidFill>
          <a:latin typeface="Arial" charset="0"/>
        </a:defRPr>
      </a:lvl9pPr>
    </p:titleStyle>
    <p:bodyStyle>
      <a:lvl1pPr marL="174464" indent="-174464" algn="l" rtl="0" fontAlgn="base">
        <a:lnSpc>
          <a:spcPct val="85000"/>
        </a:lnSpc>
        <a:spcBef>
          <a:spcPts val="600"/>
        </a:spcBef>
        <a:spcAft>
          <a:spcPct val="0"/>
        </a:spcAft>
        <a:buClr>
          <a:schemeClr val="bg1"/>
        </a:buClr>
        <a:buChar char="•"/>
        <a:defRPr sz="2398">
          <a:solidFill>
            <a:schemeClr val="bg1"/>
          </a:solidFill>
          <a:latin typeface="+mn-lt"/>
          <a:ea typeface="+mn-ea"/>
          <a:cs typeface="+mn-cs"/>
        </a:defRPr>
      </a:lvl1pPr>
      <a:lvl2pPr marL="461536" indent="-172878" algn="l" rtl="0" fontAlgn="base">
        <a:lnSpc>
          <a:spcPct val="85000"/>
        </a:lnSpc>
        <a:spcBef>
          <a:spcPts val="600"/>
        </a:spcBef>
        <a:spcAft>
          <a:spcPct val="0"/>
        </a:spcAft>
        <a:buClr>
          <a:schemeClr val="bg1"/>
        </a:buClr>
        <a:buChar char="–"/>
        <a:defRPr sz="1998">
          <a:solidFill>
            <a:schemeClr val="bg1"/>
          </a:solidFill>
          <a:latin typeface="+mn-lt"/>
        </a:defRPr>
      </a:lvl2pPr>
      <a:lvl3pPr marL="688338" indent="-112609" algn="l" rtl="0" fontAlgn="base">
        <a:lnSpc>
          <a:spcPct val="85000"/>
        </a:lnSpc>
        <a:spcBef>
          <a:spcPts val="600"/>
        </a:spcBef>
        <a:spcAft>
          <a:spcPct val="0"/>
        </a:spcAft>
        <a:buClr>
          <a:schemeClr val="bg1"/>
        </a:buClr>
        <a:buChar char="•"/>
        <a:defRPr sz="1799">
          <a:solidFill>
            <a:schemeClr val="bg1"/>
          </a:solidFill>
          <a:latin typeface="+mn-lt"/>
        </a:defRPr>
      </a:lvl3pPr>
      <a:lvl4pPr marL="913554" indent="-111023" algn="l" rtl="0" fontAlgn="base">
        <a:lnSpc>
          <a:spcPct val="85000"/>
        </a:lnSpc>
        <a:spcBef>
          <a:spcPts val="600"/>
        </a:spcBef>
        <a:spcAft>
          <a:spcPct val="0"/>
        </a:spcAft>
        <a:buClr>
          <a:schemeClr val="bg1"/>
        </a:buClr>
        <a:buChar char="–"/>
        <a:defRPr sz="1399">
          <a:solidFill>
            <a:schemeClr val="bg1"/>
          </a:solidFill>
          <a:latin typeface="+mn-lt"/>
        </a:defRPr>
      </a:lvl4pPr>
      <a:lvl5pPr marL="1138771" indent="-111023" algn="l" rtl="0" fontAlgn="base">
        <a:lnSpc>
          <a:spcPct val="85000"/>
        </a:lnSpc>
        <a:spcBef>
          <a:spcPts val="600"/>
        </a:spcBef>
        <a:spcAft>
          <a:spcPct val="0"/>
        </a:spcAft>
        <a:buClr>
          <a:schemeClr val="bg1"/>
        </a:buClr>
        <a:buChar char="•"/>
        <a:defRPr sz="1199">
          <a:solidFill>
            <a:schemeClr val="bg1"/>
          </a:solidFill>
          <a:latin typeface="+mn-lt"/>
        </a:defRPr>
      </a:lvl5pPr>
      <a:lvl6pPr marL="1595548" indent="-111023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199">
          <a:solidFill>
            <a:schemeClr val="tx1"/>
          </a:solidFill>
          <a:latin typeface="+mn-lt"/>
        </a:defRPr>
      </a:lvl6pPr>
      <a:lvl7pPr marL="2052325" indent="-111023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199">
          <a:solidFill>
            <a:schemeClr val="tx1"/>
          </a:solidFill>
          <a:latin typeface="+mn-lt"/>
        </a:defRPr>
      </a:lvl7pPr>
      <a:lvl8pPr marL="2509102" indent="-111023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199">
          <a:solidFill>
            <a:schemeClr val="tx1"/>
          </a:solidFill>
          <a:latin typeface="+mn-lt"/>
        </a:defRPr>
      </a:lvl8pPr>
      <a:lvl9pPr marL="2965880" indent="-111023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199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55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777" algn="l" defTabSz="91355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554" algn="l" defTabSz="91355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332" algn="l" defTabSz="91355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109" algn="l" defTabSz="91355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3886" algn="l" defTabSz="91355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0663" algn="l" defTabSz="91355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7440" algn="l" defTabSz="91355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4217" algn="l" defTabSz="91355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13"/>
          <p:cNvSpPr txBox="1">
            <a:spLocks noGrp="1"/>
          </p:cNvSpPr>
          <p:nvPr>
            <p:ph type="ctrTitle"/>
          </p:nvPr>
        </p:nvSpPr>
        <p:spPr>
          <a:xfrm>
            <a:off x="159511" y="1115784"/>
            <a:ext cx="6124754" cy="22401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dirty="0"/>
              <a:t>Career Growth &amp; IDP Activation - 2023</a:t>
            </a:r>
            <a:endParaRPr sz="3600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78E41D47-8540-400A-AFD9-837586DB72A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0580" b="42673"/>
          <a:stretch/>
        </p:blipFill>
        <p:spPr>
          <a:xfrm>
            <a:off x="159511" y="182140"/>
            <a:ext cx="1763882" cy="417681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9848868-8AF6-050C-11F8-8E20FD4AE8E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</a:t>
            </a:fld>
            <a:endParaRPr lang="en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3699B5-3767-4447-48AC-CEF512954D91}"/>
              </a:ext>
            </a:extLst>
          </p:cNvPr>
          <p:cNvSpPr txBox="1"/>
          <p:nvPr/>
        </p:nvSpPr>
        <p:spPr>
          <a:xfrm>
            <a:off x="42854" y="-91439"/>
            <a:ext cx="86375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rgbClr val="00206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Arial Black"/>
              </a:rPr>
              <a:t>Career Growth &amp; IDP Activation </a:t>
            </a:r>
            <a:r>
              <a:rPr lang="en-US" sz="1800" b="1" dirty="0">
                <a:solidFill>
                  <a:srgbClr val="00B05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Arial Black"/>
              </a:rPr>
              <a:t>-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Back to basics (focusing on the HOW)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E5F82D2-497B-F2BF-4684-079EEDA5BE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1288735"/>
              </p:ext>
            </p:extLst>
          </p:nvPr>
        </p:nvGraphicFramePr>
        <p:xfrm>
          <a:off x="42854" y="258540"/>
          <a:ext cx="8688450" cy="4884910"/>
        </p:xfrm>
        <a:graphic>
          <a:graphicData uri="http://schemas.openxmlformats.org/drawingml/2006/table">
            <a:tbl>
              <a:tblPr firstRow="1" bandRow="1"/>
              <a:tblGrid>
                <a:gridCol w="1027174">
                  <a:extLst>
                    <a:ext uri="{9D8B030D-6E8A-4147-A177-3AD203B41FA5}">
                      <a16:colId xmlns:a16="http://schemas.microsoft.com/office/drawing/2014/main" val="14061269"/>
                    </a:ext>
                  </a:extLst>
                </a:gridCol>
                <a:gridCol w="2838894">
                  <a:extLst>
                    <a:ext uri="{9D8B030D-6E8A-4147-A177-3AD203B41FA5}">
                      <a16:colId xmlns:a16="http://schemas.microsoft.com/office/drawing/2014/main" val="3944956755"/>
                    </a:ext>
                  </a:extLst>
                </a:gridCol>
                <a:gridCol w="1364803">
                  <a:extLst>
                    <a:ext uri="{9D8B030D-6E8A-4147-A177-3AD203B41FA5}">
                      <a16:colId xmlns:a16="http://schemas.microsoft.com/office/drawing/2014/main" val="2724270909"/>
                    </a:ext>
                  </a:extLst>
                </a:gridCol>
                <a:gridCol w="1364803">
                  <a:extLst>
                    <a:ext uri="{9D8B030D-6E8A-4147-A177-3AD203B41FA5}">
                      <a16:colId xmlns:a16="http://schemas.microsoft.com/office/drawing/2014/main" val="1260427765"/>
                    </a:ext>
                  </a:extLst>
                </a:gridCol>
                <a:gridCol w="1077963">
                  <a:extLst>
                    <a:ext uri="{9D8B030D-6E8A-4147-A177-3AD203B41FA5}">
                      <a16:colId xmlns:a16="http://schemas.microsoft.com/office/drawing/2014/main" val="236307671"/>
                    </a:ext>
                  </a:extLst>
                </a:gridCol>
                <a:gridCol w="1014813">
                  <a:extLst>
                    <a:ext uri="{9D8B030D-6E8A-4147-A177-3AD203B41FA5}">
                      <a16:colId xmlns:a16="http://schemas.microsoft.com/office/drawing/2014/main" val="3930301683"/>
                    </a:ext>
                  </a:extLst>
                </a:gridCol>
              </a:tblGrid>
              <a:tr h="288085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tivity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cription 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roach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400" b="1" i="0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Accountability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dience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e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4033599"/>
                  </a:ext>
                </a:extLst>
              </a:tr>
              <a:tr h="274686">
                <a:tc rowSpan="4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cation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nner to increase activation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tranet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/ People Managers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ril – May – June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7840140"/>
                  </a:ext>
                </a:extLst>
              </a:tr>
              <a:tr h="34571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sters to be printed and displayed in different locations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sters Printed &amp; Displayed in locations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9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749748"/>
                  </a:ext>
                </a:extLst>
              </a:tr>
              <a:tr h="34571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crotips to be leveraged on team updates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am updates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9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2873045"/>
                  </a:ext>
                </a:extLst>
              </a:tr>
              <a:tr h="34571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-mail communication to roll out the career growth &amp; IDP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R Communication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9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1379412"/>
                  </a:ext>
                </a:extLst>
              </a:tr>
              <a:tr h="345718">
                <a:tc rowSpan="3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ablement Sessions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aining session to all HRBP &amp; Divisional TM Leads on career growth &amp; IDP and share the activation plan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rtual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US" sz="9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RBPs &amp; TM leads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 April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3679395"/>
                  </a:ext>
                </a:extLst>
              </a:tr>
              <a:tr h="475393">
                <a:tc vMerge="1">
                  <a:txBody>
                    <a:bodyPr/>
                    <a:lstStyle/>
                    <a:p>
                      <a:pPr algn="l"/>
                      <a:endParaRPr lang="en-US" sz="11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aining session to all People managers on career growth &amp; IDP</a:t>
                      </a:r>
                      <a:endParaRPr lang="en-US" sz="9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rtual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 + Divisional TM Lead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9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ople Managers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 May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7283593"/>
                  </a:ext>
                </a:extLst>
              </a:tr>
              <a:tr h="47539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aining session to  all employees on career growth &amp; IDP </a:t>
                      </a:r>
                      <a:endParaRPr lang="en-US" sz="9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rtual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 + Divisional TM Lead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9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 May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4915416"/>
                  </a:ext>
                </a:extLst>
              </a:tr>
              <a:tr h="379338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linic Sessions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u="none" strike="noStrike" kern="1200" cap="non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Dedicate 1 hour to respond to any challenge that the employee faces in IDP.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ce to Face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9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 May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3555500"/>
                  </a:ext>
                </a:extLst>
              </a:tr>
              <a:tr h="475393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nt sessions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liver session on Career Success &amp; IDP delivered by our Trainers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rtual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nt Trainers (Grow your People)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/ People Manager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9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1" i="0" u="none" strike="noStrike" cap="non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April – May – June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1929334"/>
                  </a:ext>
                </a:extLst>
              </a:tr>
              <a:tr h="452122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lf-Paced Learning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lf paced e-learning module to help employees &amp; people managers develop their IDP</a:t>
                      </a:r>
                      <a:r>
                        <a:rPr 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u="none" strike="noStrike" cap="non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E-Learning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9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/ People Managers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s-ES" sz="900" b="1" i="0" u="none" strike="noStrike" cap="non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W3 April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7346973"/>
                  </a:ext>
                </a:extLst>
              </a:tr>
              <a:tr h="475393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reer Panel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vite different leaders to a Panel discussion to share their career success stories, challenges</a:t>
                      </a:r>
                      <a:r>
                        <a:rPr lang="en-US" sz="90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they faced and how they leveraged the leadership competencies.</a:t>
                      </a:r>
                      <a:endParaRPr lang="en-US" sz="9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ce to Face &amp;Virtual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 + Divisional TM Leads</a:t>
                      </a:r>
                    </a:p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en-US" sz="9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ril – May – June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5213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11241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00296F-EE75-4D17-8F16-9FC15CD24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384" y="43343"/>
            <a:ext cx="7886700" cy="330115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Font typeface="Arial"/>
            </a:pPr>
            <a:r>
              <a:rPr lang="en-US" dirty="0">
                <a:solidFill>
                  <a:srgbClr val="002060"/>
                </a:solidFill>
                <a:latin typeface="Calibri" panose="020F0502020204030204" pitchFamily="34" charset="0"/>
                <a:sym typeface="Arial"/>
              </a:rPr>
              <a:t>TIMELINES</a:t>
            </a:r>
            <a:r>
              <a:rPr lang="en-US" sz="1800" dirty="0">
                <a:solidFill>
                  <a:srgbClr val="002060"/>
                </a:solidFill>
                <a:latin typeface="Calibri" panose="020F0502020204030204" pitchFamily="34" charset="0"/>
                <a:sym typeface="Arial"/>
              </a:rPr>
              <a:t> 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976942B-FEF1-4308-BC10-6D874CCB0C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183437"/>
              </p:ext>
            </p:extLst>
          </p:nvPr>
        </p:nvGraphicFramePr>
        <p:xfrm>
          <a:off x="91436" y="1081548"/>
          <a:ext cx="8909710" cy="4022209"/>
        </p:xfrm>
        <a:graphic>
          <a:graphicData uri="http://schemas.openxmlformats.org/drawingml/2006/table">
            <a:tbl>
              <a:tblPr firstRow="1" bandRow="1"/>
              <a:tblGrid>
                <a:gridCol w="950421">
                  <a:extLst>
                    <a:ext uri="{9D8B030D-6E8A-4147-A177-3AD203B41FA5}">
                      <a16:colId xmlns:a16="http://schemas.microsoft.com/office/drawing/2014/main" val="2940127752"/>
                    </a:ext>
                  </a:extLst>
                </a:gridCol>
                <a:gridCol w="715283">
                  <a:extLst>
                    <a:ext uri="{9D8B030D-6E8A-4147-A177-3AD203B41FA5}">
                      <a16:colId xmlns:a16="http://schemas.microsoft.com/office/drawing/2014/main" val="3176668196"/>
                    </a:ext>
                  </a:extLst>
                </a:gridCol>
                <a:gridCol w="658546">
                  <a:extLst>
                    <a:ext uri="{9D8B030D-6E8A-4147-A177-3AD203B41FA5}">
                      <a16:colId xmlns:a16="http://schemas.microsoft.com/office/drawing/2014/main" val="2307193854"/>
                    </a:ext>
                  </a:extLst>
                </a:gridCol>
                <a:gridCol w="658546">
                  <a:extLst>
                    <a:ext uri="{9D8B030D-6E8A-4147-A177-3AD203B41FA5}">
                      <a16:colId xmlns:a16="http://schemas.microsoft.com/office/drawing/2014/main" val="2257368240"/>
                    </a:ext>
                  </a:extLst>
                </a:gridCol>
                <a:gridCol w="658546">
                  <a:extLst>
                    <a:ext uri="{9D8B030D-6E8A-4147-A177-3AD203B41FA5}">
                      <a16:colId xmlns:a16="http://schemas.microsoft.com/office/drawing/2014/main" val="40022239"/>
                    </a:ext>
                  </a:extLst>
                </a:gridCol>
                <a:gridCol w="658546">
                  <a:extLst>
                    <a:ext uri="{9D8B030D-6E8A-4147-A177-3AD203B41FA5}">
                      <a16:colId xmlns:a16="http://schemas.microsoft.com/office/drawing/2014/main" val="2823586846"/>
                    </a:ext>
                  </a:extLst>
                </a:gridCol>
                <a:gridCol w="658546">
                  <a:extLst>
                    <a:ext uri="{9D8B030D-6E8A-4147-A177-3AD203B41FA5}">
                      <a16:colId xmlns:a16="http://schemas.microsoft.com/office/drawing/2014/main" val="4007597055"/>
                    </a:ext>
                  </a:extLst>
                </a:gridCol>
                <a:gridCol w="658546">
                  <a:extLst>
                    <a:ext uri="{9D8B030D-6E8A-4147-A177-3AD203B41FA5}">
                      <a16:colId xmlns:a16="http://schemas.microsoft.com/office/drawing/2014/main" val="1144664860"/>
                    </a:ext>
                  </a:extLst>
                </a:gridCol>
                <a:gridCol w="65854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58546">
                  <a:extLst>
                    <a:ext uri="{9D8B030D-6E8A-4147-A177-3AD203B41FA5}">
                      <a16:colId xmlns:a16="http://schemas.microsoft.com/office/drawing/2014/main" val="961743754"/>
                    </a:ext>
                  </a:extLst>
                </a:gridCol>
                <a:gridCol w="658546">
                  <a:extLst>
                    <a:ext uri="{9D8B030D-6E8A-4147-A177-3AD203B41FA5}">
                      <a16:colId xmlns:a16="http://schemas.microsoft.com/office/drawing/2014/main" val="2947944355"/>
                    </a:ext>
                  </a:extLst>
                </a:gridCol>
                <a:gridCol w="658546">
                  <a:extLst>
                    <a:ext uri="{9D8B030D-6E8A-4147-A177-3AD203B41FA5}">
                      <a16:colId xmlns:a16="http://schemas.microsoft.com/office/drawing/2014/main" val="219829303"/>
                    </a:ext>
                  </a:extLst>
                </a:gridCol>
                <a:gridCol w="658546">
                  <a:extLst>
                    <a:ext uri="{9D8B030D-6E8A-4147-A177-3AD203B41FA5}">
                      <a16:colId xmlns:a16="http://schemas.microsoft.com/office/drawing/2014/main" val="3136811015"/>
                    </a:ext>
                  </a:extLst>
                </a:gridCol>
              </a:tblGrid>
              <a:tr h="224062">
                <a:tc rowSpan="2">
                  <a:txBody>
                    <a:bodyPr/>
                    <a:lstStyle>
                      <a:lvl1pPr marL="0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en-US" sz="8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solidFill>
                        <a:srgbClr val="009ADA"/>
                      </a:solidFill>
                    </a:lnL>
                    <a:lnR>
                      <a:noFill/>
                    </a:lnR>
                    <a:lnT w="12700" cmpd="sng">
                      <a:solidFill>
                        <a:srgbClr val="009ADA"/>
                      </a:solidFill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>
                      <a:lvl1pPr marL="0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800" b="1" kern="1200" dirty="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April</a:t>
                      </a: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800" b="1" kern="1200" dirty="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May </a:t>
                      </a: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800" b="1" kern="1200" dirty="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June </a:t>
                      </a: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9ADA"/>
                      </a:solidFill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3105560"/>
                  </a:ext>
                </a:extLst>
              </a:tr>
              <a:tr h="210987">
                <a:tc vMerge="1"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endParaRPr lang="en-US" sz="8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mpd="sng">
                      <a:solidFill>
                        <a:srgbClr val="009ADA"/>
                      </a:solidFill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 dirty="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 dirty="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 dirty="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 dirty="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 dirty="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 dirty="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 dirty="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 dirty="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 dirty="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 dirty="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 dirty="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 dirty="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5594734"/>
                  </a:ext>
                </a:extLst>
              </a:tr>
              <a:tr h="59786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for Career Panels</a:t>
                      </a:r>
                    </a:p>
                  </a:txBody>
                  <a:tcPr marL="91356" marR="91356" marT="45678" marB="45678" anchor="ctr">
                    <a:lnL w="12700" cmpd="sng">
                      <a:solidFill>
                        <a:srgbClr val="009ADA"/>
                      </a:solidFill>
                    </a:lnL>
                    <a:lnR>
                      <a:noFill/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2"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8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>
                      <a:noFill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786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ablement Sessions</a:t>
                      </a:r>
                    </a:p>
                  </a:txBody>
                  <a:tcPr marL="91356" marR="91356" marT="45678" marB="45678" anchor="ctr">
                    <a:lnL w="12700" cmpd="sng">
                      <a:solidFill>
                        <a:srgbClr val="009ADA"/>
                      </a:solidFill>
                    </a:lnL>
                    <a:lnR>
                      <a:noFill/>
                    </a:lnR>
                    <a:lnT w="12700" cmpd="sng">
                      <a:solidFill>
                        <a:srgbClr val="009ADA"/>
                      </a:solidFill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2"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8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>
                      <a:noFill/>
                    </a:lnL>
                    <a:lnR w="12700" cmpd="sng">
                      <a:solidFill>
                        <a:srgbClr val="009ADA"/>
                      </a:solidFill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9622115"/>
                  </a:ext>
                </a:extLst>
              </a:tr>
              <a:tr h="5978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linic Sessions</a:t>
                      </a:r>
                    </a:p>
                    <a:p>
                      <a:pPr algn="l"/>
                      <a:endParaRPr lang="en-US" sz="11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mpd="sng">
                      <a:solidFill>
                        <a:srgbClr val="009ADA"/>
                      </a:solidFill>
                    </a:lnL>
                    <a:lnR>
                      <a:noFill/>
                    </a:lnR>
                    <a:lnT w="12700" cmpd="sng">
                      <a:solidFill>
                        <a:srgbClr val="009ADA"/>
                      </a:solidFill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2"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8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  <a:p>
                      <a:endParaRPr lang="en-US" sz="8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>
                      <a:noFill/>
                    </a:lnL>
                    <a:lnR w="12700" cmpd="sng">
                      <a:solidFill>
                        <a:srgbClr val="009ADA"/>
                      </a:solidFill>
                    </a:lnR>
                    <a:lnT w="12700" cmpd="sng">
                      <a:solidFill>
                        <a:srgbClr val="009ADA"/>
                      </a:solidFill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978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s</a:t>
                      </a:r>
                    </a:p>
                    <a:p>
                      <a:pPr algn="ctr"/>
                      <a:endParaRPr lang="en-US" sz="11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mpd="sng">
                      <a:solidFill>
                        <a:srgbClr val="009ADA"/>
                      </a:solidFill>
                    </a:lnL>
                    <a:lnR>
                      <a:noFill/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2">
                  <a:txBody>
                    <a:bodyPr/>
                    <a:lstStyle/>
                    <a:p>
                      <a:endParaRPr lang="en-US" sz="8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>
                      <a:noFill/>
                    </a:lnL>
                    <a:lnR w="12700" cmpd="sng">
                      <a:solidFill>
                        <a:srgbClr val="009ADA"/>
                      </a:solidFill>
                    </a:lnR>
                    <a:lnT w="12700" cmpd="sng">
                      <a:solidFill>
                        <a:srgbClr val="009ADA"/>
                      </a:solidFill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1053337"/>
                  </a:ext>
                </a:extLst>
              </a:tr>
              <a:tr h="59786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nt sessions</a:t>
                      </a:r>
                    </a:p>
                  </a:txBody>
                  <a:tcPr marL="91356" marR="91356" marT="45678" marB="45678" anchor="ctr">
                    <a:lnL w="12700" cmpd="sng">
                      <a:solidFill>
                        <a:srgbClr val="009ADA"/>
                      </a:solidFill>
                    </a:lnL>
                    <a:lnR>
                      <a:noFill/>
                    </a:lnR>
                    <a:lnT w="12700" cmpd="sng">
                      <a:solidFill>
                        <a:srgbClr val="009ADA"/>
                      </a:solidFill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2">
                  <a:txBody>
                    <a:bodyPr/>
                    <a:lstStyle/>
                    <a:p>
                      <a:endParaRPr lang="en-US" sz="8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>
                      <a:noFill/>
                    </a:lnL>
                    <a:lnR w="12700" cmpd="sng">
                      <a:solidFill>
                        <a:srgbClr val="009ADA"/>
                      </a:solidFill>
                    </a:lnR>
                    <a:lnT w="12700" cmpd="sng">
                      <a:solidFill>
                        <a:srgbClr val="009ADA"/>
                      </a:solidFill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5598730"/>
                  </a:ext>
                </a:extLst>
              </a:tr>
              <a:tr h="5978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lf-Paced Learning </a:t>
                      </a:r>
                    </a:p>
                    <a:p>
                      <a:pPr algn="ctr"/>
                      <a:endParaRPr lang="en-US" sz="10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mpd="sng">
                      <a:solidFill>
                        <a:srgbClr val="009ADA"/>
                      </a:solidFill>
                    </a:lnL>
                    <a:lnR>
                      <a:noFill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2">
                  <a:txBody>
                    <a:bodyPr/>
                    <a:lstStyle/>
                    <a:p>
                      <a:endParaRPr lang="en-US" sz="800" b="1" kern="1200" dirty="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>
                      <a:noFill/>
                    </a:lnL>
                    <a:lnR w="12700" cmpd="sng">
                      <a:solidFill>
                        <a:srgbClr val="009ADA"/>
                      </a:solidFill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5313367"/>
                  </a:ext>
                </a:extLst>
              </a:tr>
            </a:tbl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FCDD774-490A-C9BD-59BE-186789C00686}"/>
              </a:ext>
            </a:extLst>
          </p:cNvPr>
          <p:cNvCxnSpPr>
            <a:cxnSpLocks/>
          </p:cNvCxnSpPr>
          <p:nvPr/>
        </p:nvCxnSpPr>
        <p:spPr>
          <a:xfrm flipV="1">
            <a:off x="1273207" y="2282755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B05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A125251-C9DD-A903-5E60-59E0EBFE8613}"/>
              </a:ext>
            </a:extLst>
          </p:cNvPr>
          <p:cNvCxnSpPr>
            <a:cxnSpLocks/>
          </p:cNvCxnSpPr>
          <p:nvPr/>
        </p:nvCxnSpPr>
        <p:spPr>
          <a:xfrm flipV="1">
            <a:off x="2118777" y="2272922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oval" w="med" len="med"/>
          </a:ln>
          <a:effectLst/>
        </p:spPr>
      </p:cxnSp>
      <p:sp>
        <p:nvSpPr>
          <p:cNvPr id="34" name="11 Rectángulo">
            <a:extLst>
              <a:ext uri="{FF2B5EF4-FFF2-40B4-BE49-F238E27FC236}">
                <a16:creationId xmlns:a16="http://schemas.microsoft.com/office/drawing/2014/main" id="{4F2A45CF-A146-E92E-3186-0817E23DEB6A}"/>
              </a:ext>
            </a:extLst>
          </p:cNvPr>
          <p:cNvSpPr/>
          <p:nvPr/>
        </p:nvSpPr>
        <p:spPr>
          <a:xfrm>
            <a:off x="7432374" y="28482"/>
            <a:ext cx="1568777" cy="83760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88" dirty="0">
              <a:latin typeface="News Cycle" panose="020B0604020202020204" charset="2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2D01CD0-C6E1-2252-2D80-F22393961834}"/>
              </a:ext>
            </a:extLst>
          </p:cNvPr>
          <p:cNvCxnSpPr>
            <a:cxnSpLocks/>
          </p:cNvCxnSpPr>
          <p:nvPr/>
        </p:nvCxnSpPr>
        <p:spPr>
          <a:xfrm flipV="1">
            <a:off x="7541271" y="80584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B05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B528B71-6A9B-83EB-2E1C-0205CB777A68}"/>
              </a:ext>
            </a:extLst>
          </p:cNvPr>
          <p:cNvCxnSpPr>
            <a:cxnSpLocks/>
          </p:cNvCxnSpPr>
          <p:nvPr/>
        </p:nvCxnSpPr>
        <p:spPr>
          <a:xfrm flipV="1">
            <a:off x="7551106" y="621353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oval" w="med" len="med"/>
          </a:ln>
          <a:effectLst/>
        </p:spPr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05AA5198-467B-01C6-D94F-F936C1C221F8}"/>
              </a:ext>
            </a:extLst>
          </p:cNvPr>
          <p:cNvSpPr txBox="1"/>
          <p:nvPr/>
        </p:nvSpPr>
        <p:spPr>
          <a:xfrm>
            <a:off x="7551849" y="8647"/>
            <a:ext cx="108395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dirty="0">
                <a:latin typeface="Calibri" panose="020F0502020204030204" pitchFamily="34" charset="0"/>
                <a:cs typeface="Calibri" panose="020F0502020204030204" pitchFamily="34" charset="0"/>
              </a:rPr>
              <a:t>HRBPs &amp; TM Lead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CE48531-BCFE-ACD4-F114-7C2DD1FC3DA5}"/>
              </a:ext>
            </a:extLst>
          </p:cNvPr>
          <p:cNvSpPr txBox="1"/>
          <p:nvPr/>
        </p:nvSpPr>
        <p:spPr>
          <a:xfrm>
            <a:off x="7551106" y="347649"/>
            <a:ext cx="73129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dirty="0">
                <a:latin typeface="Calibri" panose="020F0502020204030204" pitchFamily="34" charset="0"/>
                <a:cs typeface="Calibri" panose="020F0502020204030204" pitchFamily="34" charset="0"/>
              </a:rPr>
              <a:t>Employees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4315C78-D93F-19E7-0618-9A56D0A4A3C6}"/>
              </a:ext>
            </a:extLst>
          </p:cNvPr>
          <p:cNvSpPr txBox="1"/>
          <p:nvPr/>
        </p:nvSpPr>
        <p:spPr>
          <a:xfrm>
            <a:off x="7591185" y="598582"/>
            <a:ext cx="3593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dirty="0">
                <a:latin typeface="Calibri" panose="020F0502020204030204" pitchFamily="34" charset="0"/>
                <a:cs typeface="Calibri" panose="020F0502020204030204" pitchFamily="34" charset="0"/>
              </a:rPr>
              <a:t>LM 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BD9AB8E-14E1-3036-8877-AB7E7B4F146A}"/>
              </a:ext>
            </a:extLst>
          </p:cNvPr>
          <p:cNvCxnSpPr>
            <a:cxnSpLocks/>
          </p:cNvCxnSpPr>
          <p:nvPr/>
        </p:nvCxnSpPr>
        <p:spPr>
          <a:xfrm flipV="1">
            <a:off x="1922133" y="227292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9D2E758-86FF-5594-EAE6-3011B75A8D3E}"/>
              </a:ext>
            </a:extLst>
          </p:cNvPr>
          <p:cNvCxnSpPr>
            <a:cxnSpLocks/>
          </p:cNvCxnSpPr>
          <p:nvPr/>
        </p:nvCxnSpPr>
        <p:spPr>
          <a:xfrm flipV="1">
            <a:off x="2861115" y="2258172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0821E8CF-2133-6DD9-9D4A-41666503B4E3}"/>
              </a:ext>
            </a:extLst>
          </p:cNvPr>
          <p:cNvCxnSpPr>
            <a:cxnSpLocks/>
          </p:cNvCxnSpPr>
          <p:nvPr/>
        </p:nvCxnSpPr>
        <p:spPr>
          <a:xfrm flipV="1">
            <a:off x="2664471" y="225817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685CC5AC-0257-487B-D400-E5BE68418D27}"/>
              </a:ext>
            </a:extLst>
          </p:cNvPr>
          <p:cNvCxnSpPr>
            <a:cxnSpLocks/>
          </p:cNvCxnSpPr>
          <p:nvPr/>
        </p:nvCxnSpPr>
        <p:spPr>
          <a:xfrm flipV="1">
            <a:off x="3505128" y="226309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08048118-C009-3D06-CD37-6AB2984FC1E0}"/>
              </a:ext>
            </a:extLst>
          </p:cNvPr>
          <p:cNvCxnSpPr>
            <a:cxnSpLocks/>
          </p:cNvCxnSpPr>
          <p:nvPr/>
        </p:nvCxnSpPr>
        <p:spPr>
          <a:xfrm flipV="1">
            <a:off x="3308484" y="2263088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89E59A70-C589-FC24-FC70-556042EA744A}"/>
              </a:ext>
            </a:extLst>
          </p:cNvPr>
          <p:cNvCxnSpPr>
            <a:cxnSpLocks/>
          </p:cNvCxnSpPr>
          <p:nvPr/>
        </p:nvCxnSpPr>
        <p:spPr>
          <a:xfrm flipV="1">
            <a:off x="3923002" y="2867777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5A1AE2CF-7272-CAE6-DEF4-FC38A972C21C}"/>
              </a:ext>
            </a:extLst>
          </p:cNvPr>
          <p:cNvCxnSpPr>
            <a:cxnSpLocks/>
          </p:cNvCxnSpPr>
          <p:nvPr/>
        </p:nvCxnSpPr>
        <p:spPr>
          <a:xfrm flipV="1">
            <a:off x="5309353" y="2857942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F707AC4E-F217-950D-2B34-2101860945B7}"/>
              </a:ext>
            </a:extLst>
          </p:cNvPr>
          <p:cNvCxnSpPr>
            <a:cxnSpLocks/>
          </p:cNvCxnSpPr>
          <p:nvPr/>
        </p:nvCxnSpPr>
        <p:spPr>
          <a:xfrm flipV="1">
            <a:off x="2177773" y="346929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E791ABCD-D0DE-853A-8DA0-6EB932B8E9A9}"/>
              </a:ext>
            </a:extLst>
          </p:cNvPr>
          <p:cNvCxnSpPr>
            <a:cxnSpLocks/>
          </p:cNvCxnSpPr>
          <p:nvPr/>
        </p:nvCxnSpPr>
        <p:spPr>
          <a:xfrm flipV="1">
            <a:off x="2064216" y="346929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B05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39B5E241-0EC1-1FEE-1830-3971B779DB53}"/>
              </a:ext>
            </a:extLst>
          </p:cNvPr>
          <p:cNvCxnSpPr>
            <a:cxnSpLocks/>
          </p:cNvCxnSpPr>
          <p:nvPr/>
        </p:nvCxnSpPr>
        <p:spPr>
          <a:xfrm flipV="1">
            <a:off x="2787370" y="3479122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4421B412-0C0C-73E3-BAD3-105110D500BF}"/>
              </a:ext>
            </a:extLst>
          </p:cNvPr>
          <p:cNvCxnSpPr>
            <a:cxnSpLocks/>
          </p:cNvCxnSpPr>
          <p:nvPr/>
        </p:nvCxnSpPr>
        <p:spPr>
          <a:xfrm flipV="1">
            <a:off x="3441222" y="3479122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109AD86C-CDE1-FC60-33D0-6BC61FD71310}"/>
              </a:ext>
            </a:extLst>
          </p:cNvPr>
          <p:cNvCxnSpPr>
            <a:cxnSpLocks/>
          </p:cNvCxnSpPr>
          <p:nvPr/>
        </p:nvCxnSpPr>
        <p:spPr>
          <a:xfrm flipV="1">
            <a:off x="4208136" y="346929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BC0C41BE-2787-C084-C9A6-7E455F4500CF}"/>
              </a:ext>
            </a:extLst>
          </p:cNvPr>
          <p:cNvCxnSpPr>
            <a:cxnSpLocks/>
          </p:cNvCxnSpPr>
          <p:nvPr/>
        </p:nvCxnSpPr>
        <p:spPr>
          <a:xfrm flipV="1">
            <a:off x="4871817" y="346929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A59A0972-6276-A76B-6B30-502C365FE5EF}"/>
              </a:ext>
            </a:extLst>
          </p:cNvPr>
          <p:cNvCxnSpPr>
            <a:cxnSpLocks/>
          </p:cNvCxnSpPr>
          <p:nvPr/>
        </p:nvCxnSpPr>
        <p:spPr>
          <a:xfrm flipV="1">
            <a:off x="7551112" y="331052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3291E327-B69C-4CA9-97F7-78528E16C79B}"/>
              </a:ext>
            </a:extLst>
          </p:cNvPr>
          <p:cNvCxnSpPr>
            <a:cxnSpLocks/>
          </p:cNvCxnSpPr>
          <p:nvPr/>
        </p:nvCxnSpPr>
        <p:spPr>
          <a:xfrm flipV="1">
            <a:off x="5977947" y="346929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E789095F-AD23-A02E-F17B-170B5257D3A5}"/>
              </a:ext>
            </a:extLst>
          </p:cNvPr>
          <p:cNvCxnSpPr>
            <a:cxnSpLocks/>
          </p:cNvCxnSpPr>
          <p:nvPr/>
        </p:nvCxnSpPr>
        <p:spPr>
          <a:xfrm flipV="1">
            <a:off x="5481418" y="346929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ED236EB4-3136-CE8A-5FDB-8006ACCC5F1E}"/>
              </a:ext>
            </a:extLst>
          </p:cNvPr>
          <p:cNvCxnSpPr>
            <a:cxnSpLocks/>
          </p:cNvCxnSpPr>
          <p:nvPr/>
        </p:nvCxnSpPr>
        <p:spPr>
          <a:xfrm flipV="1">
            <a:off x="6617044" y="346929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CD8DAE86-5615-045A-0CCC-17CD8A404361}"/>
              </a:ext>
            </a:extLst>
          </p:cNvPr>
          <p:cNvCxnSpPr>
            <a:cxnSpLocks/>
          </p:cNvCxnSpPr>
          <p:nvPr/>
        </p:nvCxnSpPr>
        <p:spPr>
          <a:xfrm flipV="1">
            <a:off x="7251227" y="346929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B08B2EC1-3851-8DB8-66CA-4A8BD5CF80E8}"/>
              </a:ext>
            </a:extLst>
          </p:cNvPr>
          <p:cNvCxnSpPr>
            <a:cxnSpLocks/>
          </p:cNvCxnSpPr>
          <p:nvPr/>
        </p:nvCxnSpPr>
        <p:spPr>
          <a:xfrm flipV="1">
            <a:off x="8701485" y="346929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63E7DFD8-614F-63B5-4800-8D77C368B7DF}"/>
              </a:ext>
            </a:extLst>
          </p:cNvPr>
          <p:cNvCxnSpPr>
            <a:cxnSpLocks/>
          </p:cNvCxnSpPr>
          <p:nvPr/>
        </p:nvCxnSpPr>
        <p:spPr>
          <a:xfrm flipV="1">
            <a:off x="7949316" y="346929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AE8F38B6-E7C8-E4B6-41FE-989671D1FDF5}"/>
              </a:ext>
            </a:extLst>
          </p:cNvPr>
          <p:cNvCxnSpPr>
            <a:cxnSpLocks/>
          </p:cNvCxnSpPr>
          <p:nvPr/>
        </p:nvCxnSpPr>
        <p:spPr>
          <a:xfrm flipV="1">
            <a:off x="4198302" y="4044476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741F1EA4-9596-3E45-29C9-F5A2A61A7679}"/>
              </a:ext>
            </a:extLst>
          </p:cNvPr>
          <p:cNvCxnSpPr>
            <a:cxnSpLocks/>
          </p:cNvCxnSpPr>
          <p:nvPr/>
        </p:nvCxnSpPr>
        <p:spPr>
          <a:xfrm flipV="1">
            <a:off x="5329017" y="4034646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83F4943F-8219-C008-ADF6-BF02D9E8497A}"/>
              </a:ext>
            </a:extLst>
          </p:cNvPr>
          <p:cNvCxnSpPr>
            <a:cxnSpLocks/>
          </p:cNvCxnSpPr>
          <p:nvPr/>
        </p:nvCxnSpPr>
        <p:spPr>
          <a:xfrm flipV="1">
            <a:off x="8027976" y="4078891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3986D8CC-06E6-9E8C-2431-3FA6C3DBE2A6}"/>
              </a:ext>
            </a:extLst>
          </p:cNvPr>
          <p:cNvCxnSpPr>
            <a:cxnSpLocks/>
          </p:cNvCxnSpPr>
          <p:nvPr/>
        </p:nvCxnSpPr>
        <p:spPr>
          <a:xfrm flipV="1">
            <a:off x="6671117" y="4059228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65194B01-304C-11F6-BE96-98C67AF3B468}"/>
              </a:ext>
            </a:extLst>
          </p:cNvPr>
          <p:cNvCxnSpPr>
            <a:cxnSpLocks/>
          </p:cNvCxnSpPr>
          <p:nvPr/>
        </p:nvCxnSpPr>
        <p:spPr>
          <a:xfrm flipV="1">
            <a:off x="2974191" y="4678661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0D6C755D-4B79-A804-E21F-6957F512584A}"/>
              </a:ext>
            </a:extLst>
          </p:cNvPr>
          <p:cNvCxnSpPr>
            <a:cxnSpLocks/>
          </p:cNvCxnSpPr>
          <p:nvPr/>
        </p:nvCxnSpPr>
        <p:spPr>
          <a:xfrm>
            <a:off x="4134464" y="1909817"/>
            <a:ext cx="4527762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2A41AB3D-9D03-FD47-F0FF-777CBAD9C9BD}"/>
              </a:ext>
            </a:extLst>
          </p:cNvPr>
          <p:cNvCxnSpPr>
            <a:cxnSpLocks/>
          </p:cNvCxnSpPr>
          <p:nvPr/>
        </p:nvCxnSpPr>
        <p:spPr>
          <a:xfrm>
            <a:off x="4134464" y="1715730"/>
            <a:ext cx="0" cy="181897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515FF185-926D-B60F-821B-0140AC29F708}"/>
              </a:ext>
            </a:extLst>
          </p:cNvPr>
          <p:cNvCxnSpPr>
            <a:cxnSpLocks/>
          </p:cNvCxnSpPr>
          <p:nvPr/>
        </p:nvCxnSpPr>
        <p:spPr>
          <a:xfrm>
            <a:off x="8662226" y="1720642"/>
            <a:ext cx="0" cy="181897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44028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35DC50-55B7-4243-A167-0F672E427CE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9202" y="53299"/>
            <a:ext cx="8372475" cy="421369"/>
          </a:xfrm>
        </p:spPr>
        <p:txBody>
          <a:bodyPr>
            <a:normAutofit/>
          </a:bodyPr>
          <a:lstStyle/>
          <a:p>
            <a:r>
              <a:rPr lang="en-US" sz="2381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eer Panel - Different Career Realities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4454C28-BEDB-4F48-95CD-2BAB30992CD4}"/>
              </a:ext>
            </a:extLst>
          </p:cNvPr>
          <p:cNvSpPr/>
          <p:nvPr/>
        </p:nvSpPr>
        <p:spPr bwMode="auto">
          <a:xfrm>
            <a:off x="1956658" y="2679895"/>
            <a:ext cx="1545336" cy="2072636"/>
          </a:xfrm>
          <a:prstGeom prst="rect">
            <a:avLst/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900" kern="1200" dirty="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Invite different leaders to a Panel discussion: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 dirty="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Band K &amp; L Leader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 dirty="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Woman Leader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 dirty="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Gen Z Leader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 dirty="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5+ year Seasoned Leader 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 dirty="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Emirati Leader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 dirty="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Minority Leader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610B53B-3602-43BD-A5E0-9466DF6CBBC9}"/>
              </a:ext>
            </a:extLst>
          </p:cNvPr>
          <p:cNvSpPr/>
          <p:nvPr/>
        </p:nvSpPr>
        <p:spPr bwMode="auto">
          <a:xfrm>
            <a:off x="2289007" y="4588253"/>
            <a:ext cx="875714" cy="34583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900" b="1" kern="1200" dirty="0">
                <a:solidFill>
                  <a:srgbClr val="FFFFFF"/>
                </a:solidFill>
                <a:latin typeface="Arial" charset="0"/>
                <a:ea typeface="+mn-ea"/>
                <a:cs typeface="+mn-cs"/>
              </a:rPr>
              <a:t>Wha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4E77A9C-FEBF-456B-BE31-99779BCD067A}"/>
              </a:ext>
            </a:extLst>
          </p:cNvPr>
          <p:cNvSpPr/>
          <p:nvPr/>
        </p:nvSpPr>
        <p:spPr bwMode="auto">
          <a:xfrm>
            <a:off x="3681879" y="2426677"/>
            <a:ext cx="1545336" cy="2325854"/>
          </a:xfrm>
          <a:prstGeom prst="rect">
            <a:avLst/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 dirty="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Phase 1: Virtual panel discussion run pan Sector to roll out Career growth  &amp; IDP . Facilitator – Gaby/Heba /TM Leads 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 dirty="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Phase 2: Face to Face session in locations like Talent center, Innovation Hub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B483B60-BD01-47D4-861C-63ACC62AFC7D}"/>
              </a:ext>
            </a:extLst>
          </p:cNvPr>
          <p:cNvSpPr/>
          <p:nvPr/>
        </p:nvSpPr>
        <p:spPr bwMode="auto">
          <a:xfrm>
            <a:off x="4014228" y="4588253"/>
            <a:ext cx="875714" cy="34583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900" b="1" kern="1200" dirty="0">
                <a:solidFill>
                  <a:srgbClr val="FFFFFF"/>
                </a:solidFill>
                <a:latin typeface="Arial" charset="0"/>
                <a:ea typeface="+mn-ea"/>
                <a:cs typeface="+mn-cs"/>
              </a:rPr>
              <a:t>How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DB3D0ED-0998-4277-87D5-EF5F6A865711}"/>
              </a:ext>
            </a:extLst>
          </p:cNvPr>
          <p:cNvSpPr/>
          <p:nvPr/>
        </p:nvSpPr>
        <p:spPr bwMode="auto">
          <a:xfrm>
            <a:off x="5387432" y="2173460"/>
            <a:ext cx="1545336" cy="2569689"/>
          </a:xfrm>
          <a:prstGeom prst="rect">
            <a:avLst/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900" kern="1200" dirty="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Pre – session Preparation 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AutoNum type="arabicPeriod"/>
            </a:pPr>
            <a:r>
              <a:rPr lang="en-US" sz="900" kern="1200" dirty="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Career Realities: Personal meaning of Career success.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AutoNum type="arabicPeriod"/>
            </a:pPr>
            <a:r>
              <a:rPr lang="en-US" sz="900" kern="1200" dirty="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Career Challenges that bring the best learnings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AutoNum type="arabicPeriod"/>
            </a:pPr>
            <a:r>
              <a:rPr lang="en-US" sz="900" kern="1200" dirty="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Anecdotes on Leadership competencies (Future Proofing – Commercial Drive )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AutoNum type="arabicPeriod"/>
            </a:pPr>
            <a:r>
              <a:rPr lang="en-US" sz="900" kern="1200" dirty="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Games with simple giveaway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9284C9D-EFDA-472F-BF63-D2C23503B1BF}"/>
              </a:ext>
            </a:extLst>
          </p:cNvPr>
          <p:cNvSpPr/>
          <p:nvPr/>
        </p:nvSpPr>
        <p:spPr bwMode="auto">
          <a:xfrm>
            <a:off x="5719781" y="4617325"/>
            <a:ext cx="875714" cy="33719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r" defTabSz="685800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900" b="1" kern="1200" dirty="0">
                <a:solidFill>
                  <a:srgbClr val="FFFFFF"/>
                </a:solidFill>
                <a:latin typeface="Arial" charset="0"/>
                <a:ea typeface="+mn-ea"/>
                <a:cs typeface="+mn-cs"/>
              </a:rPr>
              <a:t> Activities	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F609ABF-67FA-4C46-9156-383779A8BC33}"/>
              </a:ext>
            </a:extLst>
          </p:cNvPr>
          <p:cNvSpPr/>
          <p:nvPr/>
        </p:nvSpPr>
        <p:spPr bwMode="auto">
          <a:xfrm>
            <a:off x="192107" y="2859259"/>
            <a:ext cx="1543544" cy="1893272"/>
          </a:xfrm>
          <a:prstGeom prst="rect">
            <a:avLst/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 dirty="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Bring out the realities of career success today 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 dirty="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Personal definition of Career Growth 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 dirty="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Importance of working on your Individual Development Plan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 dirty="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The Leadership competencies  and how to leverag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E7EADE-4B8A-4295-B274-A314FA27BF00}"/>
              </a:ext>
            </a:extLst>
          </p:cNvPr>
          <p:cNvSpPr/>
          <p:nvPr/>
        </p:nvSpPr>
        <p:spPr bwMode="auto">
          <a:xfrm>
            <a:off x="524456" y="4588254"/>
            <a:ext cx="875714" cy="34583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900" b="1" kern="1200" dirty="0">
                <a:solidFill>
                  <a:srgbClr val="FFFFFF"/>
                </a:solidFill>
                <a:latin typeface="Arial" charset="0"/>
                <a:ea typeface="+mn-ea"/>
                <a:cs typeface="+mn-cs"/>
              </a:rPr>
              <a:t>Objectiv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E8E89B-76E6-424D-A820-97074EF78C0E}"/>
              </a:ext>
            </a:extLst>
          </p:cNvPr>
          <p:cNvSpPr/>
          <p:nvPr/>
        </p:nvSpPr>
        <p:spPr bwMode="auto">
          <a:xfrm>
            <a:off x="7102816" y="1899139"/>
            <a:ext cx="1545336" cy="2842253"/>
          </a:xfrm>
          <a:prstGeom prst="rect">
            <a:avLst/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AutoNum type="arabicPeriod"/>
            </a:pPr>
            <a:r>
              <a:rPr lang="en-US" sz="900" kern="1200" dirty="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Banners to announce the career panel on intranet 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AutoNum type="arabicPeriod"/>
            </a:pPr>
            <a:r>
              <a:rPr lang="en-US" sz="900" kern="1200" dirty="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E-mail communication to announce the career panel to be send by TM Leads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AutoNum type="arabicPeriod"/>
            </a:pPr>
            <a:r>
              <a:rPr lang="en-US" sz="900" kern="1200" dirty="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Calendar invite to invite employees &amp; Leaders to the Career Panel</a:t>
            </a:r>
          </a:p>
          <a:p>
            <a:pPr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</a:pPr>
            <a:endParaRPr lang="en-US" sz="900" kern="1200" dirty="0">
              <a:solidFill>
                <a:srgbClr val="C00000"/>
              </a:solidFill>
              <a:latin typeface="Calibri"/>
              <a:ea typeface="+mn-ea"/>
              <a:cs typeface="+mn-cs"/>
            </a:endParaRPr>
          </a:p>
          <a:p>
            <a:pPr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</a:pPr>
            <a:endParaRPr lang="en-US" sz="900" kern="1200" dirty="0">
              <a:solidFill>
                <a:srgbClr val="FFFFFF">
                  <a:lumMod val="50000"/>
                </a:srgbClr>
              </a:solidFill>
              <a:latin typeface="Calibri"/>
              <a:ea typeface="+mn-ea"/>
              <a:cs typeface="+mn-cs"/>
            </a:endParaRP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buClrTx/>
            </a:pPr>
            <a:endParaRPr lang="en-US" sz="900" kern="1200" dirty="0">
              <a:solidFill>
                <a:srgbClr val="FFFFFF">
                  <a:lumMod val="50000"/>
                </a:srgb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D119AAD-2330-4E8C-8474-5A0F90006EE3}"/>
              </a:ext>
            </a:extLst>
          </p:cNvPr>
          <p:cNvSpPr/>
          <p:nvPr/>
        </p:nvSpPr>
        <p:spPr bwMode="auto">
          <a:xfrm>
            <a:off x="7350221" y="4577429"/>
            <a:ext cx="1055620" cy="33558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900" b="1" kern="1200" dirty="0">
                <a:solidFill>
                  <a:srgbClr val="FFFFFF"/>
                </a:solidFill>
                <a:latin typeface="Arial" charset="0"/>
                <a:ea typeface="+mn-ea"/>
                <a:cs typeface="+mn-cs"/>
              </a:rPr>
              <a:t>Communication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6549E8E-9805-432C-BA47-7BC842267B8D}"/>
              </a:ext>
            </a:extLst>
          </p:cNvPr>
          <p:cNvSpPr/>
          <p:nvPr/>
        </p:nvSpPr>
        <p:spPr>
          <a:xfrm>
            <a:off x="447085" y="1999758"/>
            <a:ext cx="823500" cy="823500"/>
          </a:xfrm>
          <a:prstGeom prst="ellipse">
            <a:avLst/>
          </a:prstGeom>
          <a:solidFill>
            <a:srgbClr val="ED7D31">
              <a:hueOff val="0"/>
              <a:satOff val="0"/>
              <a:lumOff val="0"/>
              <a:alphaOff val="0"/>
            </a:srgbClr>
          </a:solidFill>
          <a:ln>
            <a:noFill/>
          </a:ln>
          <a:effectLst/>
        </p:spPr>
      </p:sp>
      <p:sp>
        <p:nvSpPr>
          <p:cNvPr id="17" name="Rectangle 16" descr="Classroom">
            <a:extLst>
              <a:ext uri="{FF2B5EF4-FFF2-40B4-BE49-F238E27FC236}">
                <a16:creationId xmlns:a16="http://schemas.microsoft.com/office/drawing/2014/main" id="{F3156E87-2EDE-456A-A87B-B7DD995DD34A}"/>
              </a:ext>
            </a:extLst>
          </p:cNvPr>
          <p:cNvSpPr/>
          <p:nvPr/>
        </p:nvSpPr>
        <p:spPr>
          <a:xfrm>
            <a:off x="622585" y="2175258"/>
            <a:ext cx="472500" cy="4725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EB3F806-BBD8-4C48-BBAA-65582E4229D0}"/>
              </a:ext>
            </a:extLst>
          </p:cNvPr>
          <p:cNvSpPr/>
          <p:nvPr/>
        </p:nvSpPr>
        <p:spPr>
          <a:xfrm>
            <a:off x="2218481" y="1815224"/>
            <a:ext cx="823500" cy="823500"/>
          </a:xfrm>
          <a:prstGeom prst="ellipse">
            <a:avLst/>
          </a:prstGeom>
          <a:solidFill>
            <a:srgbClr val="A5A5A5">
              <a:hueOff val="0"/>
              <a:satOff val="0"/>
              <a:lumOff val="0"/>
              <a:alphaOff val="0"/>
            </a:srgbClr>
          </a:solidFill>
          <a:ln>
            <a:noFill/>
          </a:ln>
          <a:effectLst/>
        </p:spPr>
      </p:sp>
      <p:sp>
        <p:nvSpPr>
          <p:cNvPr id="21" name="Rectangle 20" descr="Questions">
            <a:extLst>
              <a:ext uri="{FF2B5EF4-FFF2-40B4-BE49-F238E27FC236}">
                <a16:creationId xmlns:a16="http://schemas.microsoft.com/office/drawing/2014/main" id="{269C3BE9-5237-4A07-8D06-DCA7A39A1720}"/>
              </a:ext>
            </a:extLst>
          </p:cNvPr>
          <p:cNvSpPr/>
          <p:nvPr/>
        </p:nvSpPr>
        <p:spPr>
          <a:xfrm>
            <a:off x="2393981" y="2001275"/>
            <a:ext cx="472500" cy="472500"/>
          </a:xfrm>
          <a:prstGeom prst="rect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135678F-B588-4260-B3BE-12EC902D03D7}"/>
              </a:ext>
            </a:extLst>
          </p:cNvPr>
          <p:cNvSpPr/>
          <p:nvPr/>
        </p:nvSpPr>
        <p:spPr>
          <a:xfrm>
            <a:off x="3885443" y="1556355"/>
            <a:ext cx="823500" cy="823500"/>
          </a:xfrm>
          <a:prstGeom prst="ellipse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>
            <a:noFill/>
          </a:ln>
          <a:effectLst/>
        </p:spPr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5ADAA82-9370-46F6-8E3B-48E3022C3299}"/>
              </a:ext>
            </a:extLst>
          </p:cNvPr>
          <p:cNvSpPr/>
          <p:nvPr/>
        </p:nvSpPr>
        <p:spPr>
          <a:xfrm>
            <a:off x="5582621" y="1320105"/>
            <a:ext cx="823500" cy="823500"/>
          </a:xfrm>
          <a:prstGeom prst="ellipse">
            <a:avLst/>
          </a:prstGeom>
          <a:solidFill>
            <a:srgbClr val="009639"/>
          </a:solidFill>
        </p:spPr>
        <p:style>
          <a:lnRef idx="0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/>
        </p:style>
        <p:txBody>
          <a:bodyPr/>
          <a:lstStyle/>
          <a:p>
            <a:pPr defTabSz="342900">
              <a:buClrTx/>
            </a:pPr>
            <a:endParaRPr lang="en-US" sz="1350" kern="1200" dirty="0">
              <a:solidFill>
                <a:srgbClr val="1E1E1E"/>
              </a:solidFill>
              <a:latin typeface="Cambria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4D808263-A7F3-4AA9-9AA1-7AC1A6C0C54C}"/>
              </a:ext>
            </a:extLst>
          </p:cNvPr>
          <p:cNvSpPr/>
          <p:nvPr/>
        </p:nvSpPr>
        <p:spPr>
          <a:xfrm>
            <a:off x="7350220" y="1033428"/>
            <a:ext cx="823500" cy="823500"/>
          </a:xfrm>
          <a:prstGeom prst="ellipse">
            <a:avLst/>
          </a:prstGeom>
          <a:solidFill>
            <a:srgbClr val="5D3369"/>
          </a:solidFill>
        </p:spPr>
        <p:style>
          <a:lnRef idx="0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/>
        </p:style>
      </p:sp>
      <p:sp>
        <p:nvSpPr>
          <p:cNvPr id="33" name="Rectangle 7">
            <a:extLst>
              <a:ext uri="{FF2B5EF4-FFF2-40B4-BE49-F238E27FC236}">
                <a16:creationId xmlns:a16="http://schemas.microsoft.com/office/drawing/2014/main" id="{03A677B5-B217-46ED-9093-403D10E18234}"/>
              </a:ext>
            </a:extLst>
          </p:cNvPr>
          <p:cNvSpPr/>
          <p:nvPr/>
        </p:nvSpPr>
        <p:spPr>
          <a:xfrm rot="18900000">
            <a:off x="4280899" y="1793588"/>
            <a:ext cx="169248" cy="377049"/>
          </a:xfrm>
          <a:custGeom>
            <a:avLst/>
            <a:gdLst/>
            <a:ahLst/>
            <a:cxnLst/>
            <a:rect l="l" t="t" r="r" b="b"/>
            <a:pathLst>
              <a:path w="154109" h="343323">
                <a:moveTo>
                  <a:pt x="102909" y="313772"/>
                </a:moveTo>
                <a:lnTo>
                  <a:pt x="102909" y="328547"/>
                </a:lnTo>
                <a:cubicBezTo>
                  <a:pt x="102909" y="336708"/>
                  <a:pt x="96294" y="343322"/>
                  <a:pt x="88133" y="343323"/>
                </a:cubicBezTo>
                <a:lnTo>
                  <a:pt x="65975" y="343322"/>
                </a:lnTo>
                <a:cubicBezTo>
                  <a:pt x="57814" y="343322"/>
                  <a:pt x="51199" y="336708"/>
                  <a:pt x="51199" y="328547"/>
                </a:cubicBezTo>
                <a:cubicBezTo>
                  <a:pt x="51199" y="323622"/>
                  <a:pt x="51200" y="318696"/>
                  <a:pt x="51200" y="313771"/>
                </a:cubicBezTo>
                <a:close/>
                <a:moveTo>
                  <a:pt x="123327" y="15459"/>
                </a:moveTo>
                <a:cubicBezTo>
                  <a:pt x="141678" y="29245"/>
                  <a:pt x="152926" y="50497"/>
                  <a:pt x="154008" y="73425"/>
                </a:cubicBezTo>
                <a:cubicBezTo>
                  <a:pt x="155089" y="96353"/>
                  <a:pt x="145890" y="118568"/>
                  <a:pt x="128916" y="134021"/>
                </a:cubicBezTo>
                <a:lnTo>
                  <a:pt x="119294" y="123450"/>
                </a:lnTo>
                <a:cubicBezTo>
                  <a:pt x="133118" y="110865"/>
                  <a:pt x="140611" y="92772"/>
                  <a:pt x="139730" y="74098"/>
                </a:cubicBezTo>
                <a:cubicBezTo>
                  <a:pt x="138850" y="55424"/>
                  <a:pt x="129689" y="38115"/>
                  <a:pt x="114743" y="26887"/>
                </a:cubicBezTo>
                <a:close/>
                <a:moveTo>
                  <a:pt x="136698" y="17411"/>
                </a:moveTo>
                <a:cubicBezTo>
                  <a:pt x="103758" y="-15529"/>
                  <a:pt x="50351" y="-15529"/>
                  <a:pt x="17412" y="17411"/>
                </a:cubicBezTo>
                <a:cubicBezTo>
                  <a:pt x="-15528" y="50351"/>
                  <a:pt x="-15528" y="103757"/>
                  <a:pt x="17412" y="136697"/>
                </a:cubicBezTo>
                <a:cubicBezTo>
                  <a:pt x="50351" y="169637"/>
                  <a:pt x="103758" y="169637"/>
                  <a:pt x="136698" y="136697"/>
                </a:cubicBezTo>
                <a:cubicBezTo>
                  <a:pt x="169637" y="103757"/>
                  <a:pt x="169637" y="50351"/>
                  <a:pt x="136698" y="17411"/>
                </a:cubicBezTo>
                <a:close/>
                <a:moveTo>
                  <a:pt x="154109" y="0"/>
                </a:moveTo>
                <a:cubicBezTo>
                  <a:pt x="196665" y="42556"/>
                  <a:pt x="196665" y="111552"/>
                  <a:pt x="154109" y="154108"/>
                </a:cubicBezTo>
                <a:cubicBezTo>
                  <a:pt x="139576" y="168641"/>
                  <a:pt x="121959" y="178211"/>
                  <a:pt x="102912" y="180994"/>
                </a:cubicBezTo>
                <a:lnTo>
                  <a:pt x="102912" y="308310"/>
                </a:lnTo>
                <a:lnTo>
                  <a:pt x="51197" y="308310"/>
                </a:lnTo>
                <a:lnTo>
                  <a:pt x="51197" y="180994"/>
                </a:lnTo>
                <a:cubicBezTo>
                  <a:pt x="32150" y="178211"/>
                  <a:pt x="14534" y="168641"/>
                  <a:pt x="0" y="154108"/>
                </a:cubicBezTo>
                <a:cubicBezTo>
                  <a:pt x="-42555" y="111552"/>
                  <a:pt x="-42555" y="42556"/>
                  <a:pt x="0" y="0"/>
                </a:cubicBezTo>
                <a:cubicBezTo>
                  <a:pt x="42556" y="-42556"/>
                  <a:pt x="111553" y="-42556"/>
                  <a:pt x="154109" y="0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15">
              <a:buClrTx/>
              <a:defRPr/>
            </a:pPr>
            <a:endParaRPr lang="ko-KR" altLang="en-US" sz="2025">
              <a:solidFill>
                <a:prstClr val="white"/>
              </a:solidFill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35" name="Donut 24">
            <a:extLst>
              <a:ext uri="{FF2B5EF4-FFF2-40B4-BE49-F238E27FC236}">
                <a16:creationId xmlns:a16="http://schemas.microsoft.com/office/drawing/2014/main" id="{514DD793-C0B0-4870-B131-83CCD92A8A7F}"/>
              </a:ext>
            </a:extLst>
          </p:cNvPr>
          <p:cNvSpPr/>
          <p:nvPr/>
        </p:nvSpPr>
        <p:spPr>
          <a:xfrm>
            <a:off x="5782470" y="1469578"/>
            <a:ext cx="463131" cy="466901"/>
          </a:xfrm>
          <a:custGeom>
            <a:avLst/>
            <a:gdLst/>
            <a:ahLst/>
            <a:cxnLst/>
            <a:rect l="l" t="t" r="r" b="b"/>
            <a:pathLst>
              <a:path w="3208412" h="3234532">
                <a:moveTo>
                  <a:pt x="1561445" y="1065858"/>
                </a:moveTo>
                <a:cubicBezTo>
                  <a:pt x="1654998" y="1065858"/>
                  <a:pt x="1743610" y="1087015"/>
                  <a:pt x="1821879" y="1126644"/>
                </a:cubicBezTo>
                <a:lnTo>
                  <a:pt x="1611352" y="1337172"/>
                </a:lnTo>
                <a:cubicBezTo>
                  <a:pt x="1595200" y="1333388"/>
                  <a:pt x="1578468" y="1332141"/>
                  <a:pt x="1561445" y="1332141"/>
                </a:cubicBezTo>
                <a:cubicBezTo>
                  <a:pt x="1373145" y="1332141"/>
                  <a:pt x="1220499" y="1484787"/>
                  <a:pt x="1220499" y="1673087"/>
                </a:cubicBezTo>
                <a:cubicBezTo>
                  <a:pt x="1220499" y="1861387"/>
                  <a:pt x="1373145" y="2014033"/>
                  <a:pt x="1561445" y="2014033"/>
                </a:cubicBezTo>
                <a:cubicBezTo>
                  <a:pt x="1749745" y="2014033"/>
                  <a:pt x="1902391" y="1861387"/>
                  <a:pt x="1902391" y="1673087"/>
                </a:cubicBezTo>
                <a:cubicBezTo>
                  <a:pt x="1902391" y="1643675"/>
                  <a:pt x="1898667" y="1615133"/>
                  <a:pt x="1890450" y="1588219"/>
                </a:cubicBezTo>
                <a:lnTo>
                  <a:pt x="2093156" y="1385512"/>
                </a:lnTo>
                <a:cubicBezTo>
                  <a:pt x="2142229" y="1470075"/>
                  <a:pt x="2168674" y="1568493"/>
                  <a:pt x="2168674" y="1673087"/>
                </a:cubicBezTo>
                <a:cubicBezTo>
                  <a:pt x="2168674" y="2008450"/>
                  <a:pt x="1896808" y="2280316"/>
                  <a:pt x="1561445" y="2280316"/>
                </a:cubicBezTo>
                <a:cubicBezTo>
                  <a:pt x="1226082" y="2280316"/>
                  <a:pt x="954217" y="2008450"/>
                  <a:pt x="954217" y="1673087"/>
                </a:cubicBezTo>
                <a:cubicBezTo>
                  <a:pt x="954217" y="1337724"/>
                  <a:pt x="1226082" y="1065858"/>
                  <a:pt x="1561445" y="1065858"/>
                </a:cubicBezTo>
                <a:close/>
                <a:moveTo>
                  <a:pt x="1561445" y="580076"/>
                </a:moveTo>
                <a:cubicBezTo>
                  <a:pt x="1790175" y="580076"/>
                  <a:pt x="2002494" y="650333"/>
                  <a:pt x="2177834" y="770690"/>
                </a:cubicBezTo>
                <a:lnTo>
                  <a:pt x="1968030" y="980494"/>
                </a:lnTo>
                <a:cubicBezTo>
                  <a:pt x="1849962" y="907198"/>
                  <a:pt x="1710422" y="866794"/>
                  <a:pt x="1561445" y="866794"/>
                </a:cubicBezTo>
                <a:cubicBezTo>
                  <a:pt x="1116142" y="866794"/>
                  <a:pt x="755153" y="1227784"/>
                  <a:pt x="755153" y="1673087"/>
                </a:cubicBezTo>
                <a:cubicBezTo>
                  <a:pt x="755153" y="2118390"/>
                  <a:pt x="1116142" y="2479380"/>
                  <a:pt x="1561445" y="2479380"/>
                </a:cubicBezTo>
                <a:cubicBezTo>
                  <a:pt x="2006748" y="2479380"/>
                  <a:pt x="2367738" y="2118390"/>
                  <a:pt x="2367738" y="1673087"/>
                </a:cubicBezTo>
                <a:cubicBezTo>
                  <a:pt x="2367738" y="1513043"/>
                  <a:pt x="2321108" y="1363890"/>
                  <a:pt x="2239307" y="1239362"/>
                </a:cubicBezTo>
                <a:lnTo>
                  <a:pt x="2445928" y="1032741"/>
                </a:lnTo>
                <a:cubicBezTo>
                  <a:pt x="2577451" y="1212149"/>
                  <a:pt x="2654457" y="1433625"/>
                  <a:pt x="2654457" y="1673087"/>
                </a:cubicBezTo>
                <a:cubicBezTo>
                  <a:pt x="2654457" y="2276741"/>
                  <a:pt x="2165099" y="2766099"/>
                  <a:pt x="1561445" y="2766099"/>
                </a:cubicBezTo>
                <a:cubicBezTo>
                  <a:pt x="957792" y="2766099"/>
                  <a:pt x="468434" y="2276741"/>
                  <a:pt x="468434" y="1673087"/>
                </a:cubicBezTo>
                <a:cubicBezTo>
                  <a:pt x="468434" y="1069433"/>
                  <a:pt x="957792" y="580076"/>
                  <a:pt x="1561445" y="580076"/>
                </a:cubicBezTo>
                <a:close/>
                <a:moveTo>
                  <a:pt x="1561445" y="111642"/>
                </a:moveTo>
                <a:cubicBezTo>
                  <a:pt x="1890473" y="111642"/>
                  <a:pt x="2195731" y="213411"/>
                  <a:pt x="2447076" y="387744"/>
                </a:cubicBezTo>
                <a:lnTo>
                  <a:pt x="2453780" y="494744"/>
                </a:lnTo>
                <a:lnTo>
                  <a:pt x="2309436" y="639088"/>
                </a:lnTo>
                <a:cubicBezTo>
                  <a:pt x="2099826" y="485554"/>
                  <a:pt x="1841132" y="395669"/>
                  <a:pt x="1561445" y="395669"/>
                </a:cubicBezTo>
                <a:cubicBezTo>
                  <a:pt x="855947" y="395669"/>
                  <a:pt x="284027" y="967589"/>
                  <a:pt x="284027" y="1673087"/>
                </a:cubicBezTo>
                <a:cubicBezTo>
                  <a:pt x="284027" y="2378585"/>
                  <a:pt x="855947" y="2950505"/>
                  <a:pt x="1561445" y="2950505"/>
                </a:cubicBezTo>
                <a:cubicBezTo>
                  <a:pt x="2266943" y="2950505"/>
                  <a:pt x="2838863" y="2378585"/>
                  <a:pt x="2838863" y="1673087"/>
                </a:cubicBezTo>
                <a:cubicBezTo>
                  <a:pt x="2838863" y="1382650"/>
                  <a:pt x="2741936" y="1114852"/>
                  <a:pt x="2577529" y="901139"/>
                </a:cubicBezTo>
                <a:lnTo>
                  <a:pt x="2706681" y="771988"/>
                </a:lnTo>
                <a:lnTo>
                  <a:pt x="2841540" y="780437"/>
                </a:lnTo>
                <a:cubicBezTo>
                  <a:pt x="3019168" y="1032973"/>
                  <a:pt x="3122890" y="1340917"/>
                  <a:pt x="3122890" y="1673087"/>
                </a:cubicBezTo>
                <a:cubicBezTo>
                  <a:pt x="3122890" y="2535449"/>
                  <a:pt x="2423807" y="3234532"/>
                  <a:pt x="1561445" y="3234532"/>
                </a:cubicBezTo>
                <a:cubicBezTo>
                  <a:pt x="699083" y="3234532"/>
                  <a:pt x="0" y="2535449"/>
                  <a:pt x="0" y="1673087"/>
                </a:cubicBezTo>
                <a:cubicBezTo>
                  <a:pt x="0" y="810725"/>
                  <a:pt x="699083" y="111642"/>
                  <a:pt x="1561445" y="111642"/>
                </a:cubicBezTo>
                <a:close/>
                <a:moveTo>
                  <a:pt x="2909110" y="0"/>
                </a:moveTo>
                <a:lnTo>
                  <a:pt x="2926757" y="281655"/>
                </a:lnTo>
                <a:lnTo>
                  <a:pt x="3208412" y="299301"/>
                </a:lnTo>
                <a:lnTo>
                  <a:pt x="2863230" y="644483"/>
                </a:lnTo>
                <a:lnTo>
                  <a:pt x="2685547" y="633351"/>
                </a:lnTo>
                <a:lnTo>
                  <a:pt x="1718098" y="1600799"/>
                </a:lnTo>
                <a:cubicBezTo>
                  <a:pt x="1729236" y="1622491"/>
                  <a:pt x="1734939" y="1647123"/>
                  <a:pt x="1734939" y="1673087"/>
                </a:cubicBezTo>
                <a:cubicBezTo>
                  <a:pt x="1734939" y="1768905"/>
                  <a:pt x="1657263" y="1846581"/>
                  <a:pt x="1561445" y="1846581"/>
                </a:cubicBezTo>
                <a:cubicBezTo>
                  <a:pt x="1465627" y="1846581"/>
                  <a:pt x="1387951" y="1768905"/>
                  <a:pt x="1387951" y="1673087"/>
                </a:cubicBezTo>
                <a:cubicBezTo>
                  <a:pt x="1387951" y="1577269"/>
                  <a:pt x="1465627" y="1499593"/>
                  <a:pt x="1561445" y="1499593"/>
                </a:cubicBezTo>
                <a:lnTo>
                  <a:pt x="1591006" y="1505561"/>
                </a:lnTo>
                <a:lnTo>
                  <a:pt x="2574981" y="521587"/>
                </a:lnTo>
                <a:lnTo>
                  <a:pt x="2563928" y="345182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715">
              <a:buClrTx/>
              <a:defRPr/>
            </a:pPr>
            <a:endParaRPr lang="ko-KR" altLang="en-US" sz="2025">
              <a:solidFill>
                <a:prstClr val="black"/>
              </a:solidFill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36" name="Round Same Side Corner Rectangle 11">
            <a:extLst>
              <a:ext uri="{FF2B5EF4-FFF2-40B4-BE49-F238E27FC236}">
                <a16:creationId xmlns:a16="http://schemas.microsoft.com/office/drawing/2014/main" id="{907A7027-CE11-4CCA-B779-37BE50CF3FBD}"/>
              </a:ext>
            </a:extLst>
          </p:cNvPr>
          <p:cNvSpPr/>
          <p:nvPr/>
        </p:nvSpPr>
        <p:spPr>
          <a:xfrm rot="9900000">
            <a:off x="7569630" y="1277120"/>
            <a:ext cx="434900" cy="369364"/>
          </a:xfrm>
          <a:custGeom>
            <a:avLst/>
            <a:gdLst/>
            <a:ahLst/>
            <a:cxnLst/>
            <a:rect l="l" t="t" r="r" b="b"/>
            <a:pathLst>
              <a:path w="2911009" h="2472345">
                <a:moveTo>
                  <a:pt x="2219598" y="1335309"/>
                </a:moveTo>
                <a:lnTo>
                  <a:pt x="2219598" y="1222573"/>
                </a:lnTo>
                <a:cubicBezTo>
                  <a:pt x="2219598" y="1176944"/>
                  <a:pt x="2241926" y="1136530"/>
                  <a:pt x="2277694" y="1113650"/>
                </a:cubicBezTo>
                <a:lnTo>
                  <a:pt x="2277694" y="137786"/>
                </a:lnTo>
                <a:cubicBezTo>
                  <a:pt x="2277694" y="61689"/>
                  <a:pt x="2339383" y="0"/>
                  <a:pt x="2415480" y="0"/>
                </a:cubicBezTo>
                <a:lnTo>
                  <a:pt x="2545196" y="0"/>
                </a:lnTo>
                <a:cubicBezTo>
                  <a:pt x="2621293" y="0"/>
                  <a:pt x="2682982" y="61689"/>
                  <a:pt x="2682982" y="137786"/>
                </a:cubicBezTo>
                <a:lnTo>
                  <a:pt x="2682982" y="1099067"/>
                </a:lnTo>
                <a:cubicBezTo>
                  <a:pt x="2730197" y="1120049"/>
                  <a:pt x="2762708" y="1167515"/>
                  <a:pt x="2762708" y="1222573"/>
                </a:cubicBezTo>
                <a:lnTo>
                  <a:pt x="2762708" y="1480834"/>
                </a:lnTo>
                <a:close/>
                <a:moveTo>
                  <a:pt x="241900" y="1676361"/>
                </a:moveTo>
                <a:cubicBezTo>
                  <a:pt x="69371" y="1631107"/>
                  <a:pt x="-34146" y="1454930"/>
                  <a:pt x="10296" y="1282189"/>
                </a:cubicBezTo>
                <a:cubicBezTo>
                  <a:pt x="54739" y="1109449"/>
                  <a:pt x="230428" y="1005105"/>
                  <a:pt x="403375" y="1048736"/>
                </a:cubicBezTo>
                <a:cubicBezTo>
                  <a:pt x="349550" y="1257945"/>
                  <a:pt x="295726" y="1467153"/>
                  <a:pt x="241900" y="1676361"/>
                </a:cubicBezTo>
                <a:close/>
                <a:moveTo>
                  <a:pt x="2578947" y="2467929"/>
                </a:moveTo>
                <a:lnTo>
                  <a:pt x="1957545" y="2301425"/>
                </a:lnTo>
                <a:lnTo>
                  <a:pt x="2194209" y="1418183"/>
                </a:lnTo>
                <a:lnTo>
                  <a:pt x="2815611" y="1584687"/>
                </a:lnTo>
                <a:cubicBezTo>
                  <a:pt x="2884250" y="1603079"/>
                  <a:pt x="2924985" y="1673632"/>
                  <a:pt x="2906593" y="1742272"/>
                </a:cubicBezTo>
                <a:lnTo>
                  <a:pt x="2736532" y="2376947"/>
                </a:lnTo>
                <a:cubicBezTo>
                  <a:pt x="2718140" y="2445587"/>
                  <a:pt x="2647586" y="2486321"/>
                  <a:pt x="2578947" y="2467929"/>
                </a:cubicBezTo>
                <a:close/>
                <a:moveTo>
                  <a:pt x="610249" y="2287120"/>
                </a:moveTo>
                <a:lnTo>
                  <a:pt x="1020264" y="756923"/>
                </a:lnTo>
                <a:lnTo>
                  <a:pt x="2107356" y="1398691"/>
                </a:lnTo>
                <a:lnTo>
                  <a:pt x="1872582" y="2274879"/>
                </a:lnTo>
                <a:close/>
                <a:moveTo>
                  <a:pt x="426016" y="2349577"/>
                </a:moveTo>
                <a:lnTo>
                  <a:pt x="243978" y="2300800"/>
                </a:lnTo>
                <a:cubicBezTo>
                  <a:pt x="205115" y="2290387"/>
                  <a:pt x="182051" y="2250439"/>
                  <a:pt x="192464" y="2211576"/>
                </a:cubicBezTo>
                <a:lnTo>
                  <a:pt x="620679" y="613455"/>
                </a:lnTo>
                <a:cubicBezTo>
                  <a:pt x="631093" y="574592"/>
                  <a:pt x="671040" y="551528"/>
                  <a:pt x="709903" y="561941"/>
                </a:cubicBezTo>
                <a:lnTo>
                  <a:pt x="891942" y="610718"/>
                </a:lnTo>
                <a:cubicBezTo>
                  <a:pt x="930805" y="621132"/>
                  <a:pt x="953869" y="661079"/>
                  <a:pt x="943455" y="699942"/>
                </a:cubicBezTo>
                <a:lnTo>
                  <a:pt x="515240" y="2298064"/>
                </a:lnTo>
                <a:cubicBezTo>
                  <a:pt x="504827" y="2336927"/>
                  <a:pt x="464879" y="2359990"/>
                  <a:pt x="426016" y="234957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900">
              <a:buClrTx/>
            </a:pPr>
            <a:endParaRPr lang="ko-KR" altLang="en-US" sz="2025" kern="1200">
              <a:solidFill>
                <a:srgbClr val="FFFFFF"/>
              </a:solidFill>
              <a:latin typeface="Cambria"/>
              <a:ea typeface="맑은 고딕" panose="020B0503020000020004" pitchFamily="34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A6CE47-9944-2DDD-26BD-49271C213C60}"/>
              </a:ext>
            </a:extLst>
          </p:cNvPr>
          <p:cNvSpPr txBox="1"/>
          <p:nvPr/>
        </p:nvSpPr>
        <p:spPr>
          <a:xfrm>
            <a:off x="738574" y="1025688"/>
            <a:ext cx="17989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>
              <a:buClrTx/>
            </a:pPr>
            <a:r>
              <a:rPr lang="en-GB" sz="1200" b="1" kern="1200" dirty="0">
                <a:solidFill>
                  <a:srgbClr val="1E1E1E"/>
                </a:solidFill>
                <a:latin typeface="Calibri"/>
                <a:ea typeface="+mn-ea"/>
                <a:cs typeface="+mn-cs"/>
              </a:rPr>
              <a:t>Duration: 90 minutes</a:t>
            </a:r>
          </a:p>
        </p:txBody>
      </p:sp>
      <p:pic>
        <p:nvPicPr>
          <p:cNvPr id="14" name="Graphic 13" descr="Stopwatch">
            <a:extLst>
              <a:ext uri="{FF2B5EF4-FFF2-40B4-BE49-F238E27FC236}">
                <a16:creationId xmlns:a16="http://schemas.microsoft.com/office/drawing/2014/main" id="{B3F2C23F-17A2-0D37-363F-B2469FFEC7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6571" y="882149"/>
            <a:ext cx="557001" cy="55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204914"/>
      </p:ext>
    </p:extLst>
  </p:cSld>
  <p:clrMapOvr>
    <a:masterClrMapping/>
  </p:clrMapOvr>
  <p:transition>
    <p:fade thruBlk="1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Jessica template">
  <a:themeElements>
    <a:clrScheme name="Custom 1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00B0F0"/>
      </a:accent1>
      <a:accent2>
        <a:srgbClr val="0070C0"/>
      </a:accent2>
      <a:accent3>
        <a:srgbClr val="0070C0"/>
      </a:accent3>
      <a:accent4>
        <a:srgbClr val="FFC000"/>
      </a:accent4>
      <a:accent5>
        <a:srgbClr val="92D050"/>
      </a:accent5>
      <a:accent6>
        <a:srgbClr val="62A39F"/>
      </a:accent6>
      <a:hlink>
        <a:srgbClr val="6EAC1C"/>
      </a:hlink>
      <a:folHlink>
        <a:srgbClr val="B26B0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Default Design">
  <a:themeElements>
    <a:clrScheme name="PepsiCo">
      <a:dk1>
        <a:srgbClr val="1E1E1E"/>
      </a:dk1>
      <a:lt1>
        <a:srgbClr val="FFFFFF"/>
      </a:lt1>
      <a:dk2>
        <a:srgbClr val="96005A"/>
      </a:dk2>
      <a:lt2>
        <a:srgbClr val="0C2D83"/>
      </a:lt2>
      <a:accent1>
        <a:srgbClr val="2F8FFF"/>
      </a:accent1>
      <a:accent2>
        <a:srgbClr val="008240"/>
      </a:accent2>
      <a:accent3>
        <a:srgbClr val="FE5A17"/>
      </a:accent3>
      <a:accent4>
        <a:srgbClr val="002060"/>
      </a:accent4>
      <a:accent5>
        <a:srgbClr val="D21B02"/>
      </a:accent5>
      <a:accent6>
        <a:srgbClr val="007539"/>
      </a:accent6>
      <a:hlink>
        <a:srgbClr val="0189B4"/>
      </a:hlink>
      <a:folHlink>
        <a:srgbClr val="002C5F"/>
      </a:folHlink>
    </a:clrScheme>
    <a:fontScheme name="Office 2">
      <a:majorFont>
        <a:latin typeface="Calibri"/>
        <a:ea typeface=""/>
        <a:cs typeface=""/>
        <a:font script="Jpan" typeface="HGｺﾞｼｯｸM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mbria"/>
        <a:ea typeface=""/>
        <a:cs typeface=""/>
        <a:font script="Jpan" typeface="HG明朝B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1E1E1E"/>
        </a:dk1>
        <a:lt1>
          <a:srgbClr val="FFFFFF"/>
        </a:lt1>
        <a:dk2>
          <a:srgbClr val="96005A"/>
        </a:dk2>
        <a:lt2>
          <a:srgbClr val="0C2D83"/>
        </a:lt2>
        <a:accent1>
          <a:srgbClr val="FE5A17"/>
        </a:accent1>
        <a:accent2>
          <a:srgbClr val="008240"/>
        </a:accent2>
        <a:accent3>
          <a:srgbClr val="FFFFFF"/>
        </a:accent3>
        <a:accent4>
          <a:srgbClr val="181818"/>
        </a:accent4>
        <a:accent5>
          <a:srgbClr val="FEB5AB"/>
        </a:accent5>
        <a:accent6>
          <a:srgbClr val="007539"/>
        </a:accent6>
        <a:hlink>
          <a:srgbClr val="0189B4"/>
        </a:hlink>
        <a:folHlink>
          <a:srgbClr val="002C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EEF93BE05771747BB09798B2A91588B" ma:contentTypeVersion="8" ma:contentTypeDescription="Create a new document." ma:contentTypeScope="" ma:versionID="4a0dfd8f1057f13977a8f92e7f4a6934">
  <xsd:schema xmlns:xsd="http://www.w3.org/2001/XMLSchema" xmlns:xs="http://www.w3.org/2001/XMLSchema" xmlns:p="http://schemas.microsoft.com/office/2006/metadata/properties" xmlns:ns2="4efa616b-325c-4f03-b17e-6e60f85095d0" targetNamespace="http://schemas.microsoft.com/office/2006/metadata/properties" ma:root="true" ma:fieldsID="04c2b0648e41497ed668f6249e9c6f3c" ns2:_="">
    <xsd:import namespace="4efa616b-325c-4f03-b17e-6e60f85095d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fa616b-325c-4f03-b17e-6e60f85095d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0782A69-D70E-4C08-8BF0-34CEBFE953E4}">
  <ds:schemaRefs>
    <ds:schemaRef ds:uri="http://schemas.microsoft.com/office/infopath/2007/PartnerControls"/>
    <ds:schemaRef ds:uri="http://www.w3.org/XML/1998/namespace"/>
    <ds:schemaRef ds:uri="http://purl.org/dc/terms/"/>
    <ds:schemaRef ds:uri="http://purl.org/dc/elements/1.1/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4efa616b-325c-4f03-b17e-6e60f85095d0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3AC4D723-8854-429A-A92D-8A4D5A7DFD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efa616b-325c-4f03-b17e-6e60f85095d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EEB162B-FFEA-424D-A6FE-968A5600675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037</TotalTime>
  <Words>504</Words>
  <Application>Microsoft Office PowerPoint</Application>
  <PresentationFormat>On-screen Show (16:9)</PresentationFormat>
  <Paragraphs>118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6" baseType="lpstr">
      <vt:lpstr>News Cycle</vt:lpstr>
      <vt:lpstr>Century Gothic</vt:lpstr>
      <vt:lpstr>Cambria</vt:lpstr>
      <vt:lpstr>Arial</vt:lpstr>
      <vt:lpstr>Calibri</vt:lpstr>
      <vt:lpstr>Arial Black</vt:lpstr>
      <vt:lpstr>Lucida Grande</vt:lpstr>
      <vt:lpstr>Oswald</vt:lpstr>
      <vt:lpstr>Wingdings</vt:lpstr>
      <vt:lpstr>Jessica template</vt:lpstr>
      <vt:lpstr>1_Default Design</vt:lpstr>
      <vt:lpstr>think-cell Slide</vt:lpstr>
      <vt:lpstr>Career Growth &amp; IDP Activation - 2023</vt:lpstr>
      <vt:lpstr>PowerPoint Presentation</vt:lpstr>
      <vt:lpstr>TIMELINES </vt:lpstr>
      <vt:lpstr>Career Panel - Different Career Realitie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formance Management –  YEAR END EVALUATION</dc:title>
  <dc:creator>Khushnuma Dumasia</dc:creator>
  <cp:lastModifiedBy>Gabriella Planojevic</cp:lastModifiedBy>
  <cp:revision>11</cp:revision>
  <dcterms:modified xsi:type="dcterms:W3CDTF">2023-04-04T05:4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EF93BE05771747BB09798B2A91588B</vt:lpwstr>
  </property>
</Properties>
</file>